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6" r:id="rId3"/>
    <p:sldMasterId id="2147483670" r:id="rId4"/>
    <p:sldMasterId id="2147483675" r:id="rId5"/>
    <p:sldMasterId id="2147483682" r:id="rId6"/>
    <p:sldMasterId id="2147483690" r:id="rId7"/>
    <p:sldMasterId id="2147483696" r:id="rId8"/>
  </p:sldMasterIdLst>
  <p:notesMasterIdLst>
    <p:notesMasterId r:id="rId57"/>
  </p:notesMasterIdLst>
  <p:sldIdLst>
    <p:sldId id="271" r:id="rId9"/>
    <p:sldId id="345" r:id="rId10"/>
    <p:sldId id="342" r:id="rId11"/>
    <p:sldId id="421" r:id="rId12"/>
    <p:sldId id="422" r:id="rId13"/>
    <p:sldId id="285" r:id="rId14"/>
    <p:sldId id="290" r:id="rId15"/>
    <p:sldId id="404" r:id="rId16"/>
    <p:sldId id="405" r:id="rId17"/>
    <p:sldId id="366" r:id="rId18"/>
    <p:sldId id="326" r:id="rId19"/>
    <p:sldId id="406" r:id="rId20"/>
    <p:sldId id="375" r:id="rId21"/>
    <p:sldId id="327" r:id="rId22"/>
    <p:sldId id="414" r:id="rId23"/>
    <p:sldId id="335" r:id="rId24"/>
    <p:sldId id="385" r:id="rId25"/>
    <p:sldId id="363" r:id="rId26"/>
    <p:sldId id="350" r:id="rId27"/>
    <p:sldId id="411" r:id="rId28"/>
    <p:sldId id="412" r:id="rId29"/>
    <p:sldId id="413" r:id="rId30"/>
    <p:sldId id="328" r:id="rId31"/>
    <p:sldId id="368" r:id="rId32"/>
    <p:sldId id="329" r:id="rId33"/>
    <p:sldId id="369" r:id="rId34"/>
    <p:sldId id="416" r:id="rId35"/>
    <p:sldId id="418" r:id="rId36"/>
    <p:sldId id="419" r:id="rId37"/>
    <p:sldId id="330" r:id="rId38"/>
    <p:sldId id="383" r:id="rId39"/>
    <p:sldId id="401" r:id="rId40"/>
    <p:sldId id="402" r:id="rId41"/>
    <p:sldId id="403" r:id="rId42"/>
    <p:sldId id="410" r:id="rId43"/>
    <p:sldId id="420" r:id="rId44"/>
    <p:sldId id="331" r:id="rId45"/>
    <p:sldId id="371" r:id="rId46"/>
    <p:sldId id="332" r:id="rId47"/>
    <p:sldId id="372" r:id="rId48"/>
    <p:sldId id="333" r:id="rId49"/>
    <p:sldId id="373" r:id="rId50"/>
    <p:sldId id="386" r:id="rId51"/>
    <p:sldId id="423" r:id="rId52"/>
    <p:sldId id="424" r:id="rId53"/>
    <p:sldId id="425" r:id="rId54"/>
    <p:sldId id="426" r:id="rId55"/>
    <p:sldId id="427"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2E75B6"/>
    <a:srgbClr val="005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3" autoAdjust="0"/>
    <p:restoredTop sz="84810" autoAdjust="0"/>
  </p:normalViewPr>
  <p:slideViewPr>
    <p:cSldViewPr snapToGrid="0">
      <p:cViewPr varScale="1">
        <p:scale>
          <a:sx n="97" d="100"/>
          <a:sy n="97" d="100"/>
        </p:scale>
        <p:origin x="1050" y="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notesMaster" Target="notesMasters/notesMaster1.xml"/><Relationship Id="rId61"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2E75B6"/>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2E75B6"/>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2E75B6"/>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2E75B6"/>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2E75B6"/>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2E75B6"/>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517F6316-1EB0-4A7C-9E90-2B9E9E95D786}" type="presOf" srcId="{B2D8824F-FCA3-40D3-ADF0-216360405402}" destId="{48DB6C72-9476-46A8-A7B1-362834A04659}"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5D5EFE9E-AE1D-43D4-94F7-69EC778908C6}" srcId="{85014035-4376-41F7-B98E-7A3EC9856736}" destId="{D37ECD37-5D27-4F00-BE43-EE2CBC34B805}" srcOrd="8" destOrd="0" parTransId="{8C247E1F-B775-42D2-8047-C1EC7BD6A5A2}" sibTransId="{4839513B-2C98-4187-8C8C-5B155C922DD3}"/>
    <dgm:cxn modelId="{C9BD6C0E-1A46-4560-A5FB-2641972852DE}" type="presOf" srcId="{7C140BA5-61A2-4C44-8F2C-83C38D316D75}" destId="{66CDB625-3567-480B-96DE-D9D9D01967F2}" srcOrd="0" destOrd="0" presId="urn:microsoft.com/office/officeart/2005/8/layout/chevron1"/>
    <dgm:cxn modelId="{391E3977-102B-4E06-BEDF-3CE95BF242DD}" type="presOf" srcId="{291C0FC7-AB24-426F-95D5-FCAF7D733561}" destId="{5F3D77F7-2117-4310-82D6-CC46973B96CE}"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41D9E418-E3E0-424A-BF33-9059A48A6B3F}" srcId="{85014035-4376-41F7-B98E-7A3EC9856736}" destId="{626C66CD-664C-4CA9-9020-B8D6763AE2FD}" srcOrd="4" destOrd="0" parTransId="{F3EF0168-EB64-49AD-A5B4-271B13C93812}" sibTransId="{DBF977C8-5E0E-4980-BF6A-C155149577D8}"/>
    <dgm:cxn modelId="{71B10B43-5545-45CA-92E5-8D93B97C1DD7}" type="presOf" srcId="{626C66CD-664C-4CA9-9020-B8D6763AE2FD}" destId="{D79C9E3A-AD33-4FF1-AFAE-6CA861113F40}"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DE139CC0-2C9C-44D9-B317-A90FB0B1F035}" srcId="{85014035-4376-41F7-B98E-7A3EC9856736}" destId="{291C0FC7-AB24-426F-95D5-FCAF7D733561}" srcOrd="7" destOrd="0" parTransId="{1E282A40-F833-49C9-A458-AA5157B0BAF1}" sibTransId="{B9C13972-0B87-44F7-B846-85C5D7C228B9}"/>
    <dgm:cxn modelId="{913DACF1-E0FB-46A7-9F7F-8D4279633409}" srcId="{85014035-4376-41F7-B98E-7A3EC9856736}" destId="{152C0CFE-894B-4DCD-9C91-F961733C6C8A}" srcOrd="2" destOrd="0" parTransId="{1F637CD6-718F-42E8-BF1F-09380C90001C}" sibTransId="{DBF94304-B246-4969-8A3A-684D85AC9738}"/>
    <dgm:cxn modelId="{1F86C515-D6A2-4E8F-8653-041A0235A356}" type="presOf" srcId="{A394F2A2-CD30-43D3-B564-20AF0C1BCDE0}" destId="{4DB2B4C5-616C-405E-B54B-EC90D8032080}" srcOrd="0" destOrd="0" presId="urn:microsoft.com/office/officeart/2005/8/layout/chevron1"/>
    <dgm:cxn modelId="{3A77F86A-EFB8-4D25-9340-A2FB3971EFE0}" type="presOf" srcId="{D3E32C3F-8B1E-4470-AE4B-AF7542F719A6}" destId="{9101A43E-9FA8-44D0-8B4B-B43A17F0B30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0356FE61-3194-429F-89D9-3446DA8367BB}" type="presOf" srcId="{4F4BE03B-5823-4BC9-90E7-5574EACE09E5}" destId="{B1F183C7-4128-441B-9040-CEC245AAA671}" srcOrd="0" destOrd="0" presId="urn:microsoft.com/office/officeart/2005/8/layout/chevron1"/>
    <dgm:cxn modelId="{16B6B48A-B26F-4DA3-BF01-EA233483BC01}" type="presOf" srcId="{152C0CFE-894B-4DCD-9C91-F961733C6C8A}" destId="{8A2BE7DB-4C89-4154-B8EA-CABB8FBA3A4D}" srcOrd="0" destOrd="0" presId="urn:microsoft.com/office/officeart/2005/8/layout/chevron1"/>
    <dgm:cxn modelId="{C988DF21-A460-4371-B04A-5E86B0AD52E0}" type="presOf" srcId="{D37ECD37-5D27-4F00-BE43-EE2CBC34B805}" destId="{05E9B768-C4F6-4368-A29F-C29CFF7A9381}" srcOrd="0" destOrd="0" presId="urn:microsoft.com/office/officeart/2005/8/layout/chevron1"/>
    <dgm:cxn modelId="{71940D29-3A5C-450F-9CD4-6F63C4287744}" type="presOf" srcId="{85014035-4376-41F7-B98E-7A3EC9856736}" destId="{E59A3AA1-4456-482F-A514-10BC3E03051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F95B73C0-F2BA-4CF0-A6D8-6AABA0A37B8A}" type="presParOf" srcId="{E59A3AA1-4456-482F-A514-10BC3E030511}" destId="{66CDB625-3567-480B-96DE-D9D9D01967F2}" srcOrd="0" destOrd="0" presId="urn:microsoft.com/office/officeart/2005/8/layout/chevron1"/>
    <dgm:cxn modelId="{CBB1901A-BE3E-4ED6-B252-1947BC796CF8}" type="presParOf" srcId="{E59A3AA1-4456-482F-A514-10BC3E030511}" destId="{E69D944D-B787-42EF-A817-E7A1749D8736}" srcOrd="1" destOrd="0" presId="urn:microsoft.com/office/officeart/2005/8/layout/chevron1"/>
    <dgm:cxn modelId="{3E5D0AAD-6B96-4E33-A582-59C45CE47AAA}" type="presParOf" srcId="{E59A3AA1-4456-482F-A514-10BC3E030511}" destId="{4DB2B4C5-616C-405E-B54B-EC90D8032080}" srcOrd="2" destOrd="0" presId="urn:microsoft.com/office/officeart/2005/8/layout/chevron1"/>
    <dgm:cxn modelId="{4739EED0-1198-451A-98C3-5E8BF8C6944D}" type="presParOf" srcId="{E59A3AA1-4456-482F-A514-10BC3E030511}" destId="{7DA42B1B-26D5-4E6A-878A-49EBD2B2C1FF}" srcOrd="3" destOrd="0" presId="urn:microsoft.com/office/officeart/2005/8/layout/chevron1"/>
    <dgm:cxn modelId="{6E9DBED2-5AAD-4E99-B837-767BCA2B42D3}" type="presParOf" srcId="{E59A3AA1-4456-482F-A514-10BC3E030511}" destId="{8A2BE7DB-4C89-4154-B8EA-CABB8FBA3A4D}" srcOrd="4" destOrd="0" presId="urn:microsoft.com/office/officeart/2005/8/layout/chevron1"/>
    <dgm:cxn modelId="{85BE9501-2529-4C95-9CAD-4EB54F86BF11}" type="presParOf" srcId="{E59A3AA1-4456-482F-A514-10BC3E030511}" destId="{9FB0C3C1-B3A4-4406-AA3E-E68647A3DA67}" srcOrd="5" destOrd="0" presId="urn:microsoft.com/office/officeart/2005/8/layout/chevron1"/>
    <dgm:cxn modelId="{A0534C72-2A9C-4FC9-AC27-9015CD007C08}" type="presParOf" srcId="{E59A3AA1-4456-482F-A514-10BC3E030511}" destId="{9101A43E-9FA8-44D0-8B4B-B43A17F0B301}" srcOrd="6" destOrd="0" presId="urn:microsoft.com/office/officeart/2005/8/layout/chevron1"/>
    <dgm:cxn modelId="{E1B88F26-C1E2-4E58-9567-846ADF3C3E64}" type="presParOf" srcId="{E59A3AA1-4456-482F-A514-10BC3E030511}" destId="{C0DF1FFC-718C-41AA-B1B4-399BF34A0C85}" srcOrd="7" destOrd="0" presId="urn:microsoft.com/office/officeart/2005/8/layout/chevron1"/>
    <dgm:cxn modelId="{8AB5B7F7-4FFD-4319-9280-B925C74632A9}" type="presParOf" srcId="{E59A3AA1-4456-482F-A514-10BC3E030511}" destId="{D79C9E3A-AD33-4FF1-AFAE-6CA861113F40}" srcOrd="8" destOrd="0" presId="urn:microsoft.com/office/officeart/2005/8/layout/chevron1"/>
    <dgm:cxn modelId="{80B57A99-5684-4B66-B95A-ED23D0782581}" type="presParOf" srcId="{E59A3AA1-4456-482F-A514-10BC3E030511}" destId="{DC91B037-C717-4289-AE40-B313064DA6EB}" srcOrd="9" destOrd="0" presId="urn:microsoft.com/office/officeart/2005/8/layout/chevron1"/>
    <dgm:cxn modelId="{56F3C0D4-54F5-4120-9033-7F6C533D5B88}" type="presParOf" srcId="{E59A3AA1-4456-482F-A514-10BC3E030511}" destId="{48DB6C72-9476-46A8-A7B1-362834A04659}" srcOrd="10" destOrd="0" presId="urn:microsoft.com/office/officeart/2005/8/layout/chevron1"/>
    <dgm:cxn modelId="{ABA5BB80-AA7E-40B7-BA96-8E3F7BD43009}" type="presParOf" srcId="{E59A3AA1-4456-482F-A514-10BC3E030511}" destId="{73C3018A-3BCF-4F84-94F0-C1E38A294445}" srcOrd="11" destOrd="0" presId="urn:microsoft.com/office/officeart/2005/8/layout/chevron1"/>
    <dgm:cxn modelId="{84CB4558-588C-480D-8B8B-B85A12148B4A}" type="presParOf" srcId="{E59A3AA1-4456-482F-A514-10BC3E030511}" destId="{B1F183C7-4128-441B-9040-CEC245AAA671}" srcOrd="12" destOrd="0" presId="urn:microsoft.com/office/officeart/2005/8/layout/chevron1"/>
    <dgm:cxn modelId="{5E9C696F-8A8C-4315-B95C-02D95BD586F2}" type="presParOf" srcId="{E59A3AA1-4456-482F-A514-10BC3E030511}" destId="{8B966912-F62C-4DB4-9741-03C78CA48121}" srcOrd="13" destOrd="0" presId="urn:microsoft.com/office/officeart/2005/8/layout/chevron1"/>
    <dgm:cxn modelId="{257C2A4B-4CD5-495B-A22D-A5EE456A159B}" type="presParOf" srcId="{E59A3AA1-4456-482F-A514-10BC3E030511}" destId="{5F3D77F7-2117-4310-82D6-CC46973B96CE}" srcOrd="14" destOrd="0" presId="urn:microsoft.com/office/officeart/2005/8/layout/chevron1"/>
    <dgm:cxn modelId="{B3CD13DC-D3A4-4FF5-86AA-656AE0DB7263}" type="presParOf" srcId="{E59A3AA1-4456-482F-A514-10BC3E030511}" destId="{F6A0359B-3FA6-4B4A-90B3-02DF2DDF0B4E}" srcOrd="15" destOrd="0" presId="urn:microsoft.com/office/officeart/2005/8/layout/chevron1"/>
    <dgm:cxn modelId="{10EF223D-4B6B-422E-A9E2-FA51379871AE}"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2E75B6"/>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80799392-6F05-4E81-9DCA-4E33DC56F338}" type="presOf" srcId="{626C66CD-664C-4CA9-9020-B8D6763AE2FD}" destId="{D79C9E3A-AD33-4FF1-AFAE-6CA861113F40}"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B4006966-C3B3-4B76-8FB9-831637CCB38A}" type="presOf" srcId="{85014035-4376-41F7-B98E-7A3EC9856736}" destId="{E59A3AA1-4456-482F-A514-10BC3E030511}"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C57781FD-FAC6-495F-8F7E-68E92CE33850}" type="presOf" srcId="{7C140BA5-61A2-4C44-8F2C-83C38D316D75}" destId="{66CDB625-3567-480B-96DE-D9D9D01967F2}" srcOrd="0" destOrd="0" presId="urn:microsoft.com/office/officeart/2005/8/layout/chevron1"/>
    <dgm:cxn modelId="{5D5EFE9E-AE1D-43D4-94F7-69EC778908C6}" srcId="{85014035-4376-41F7-B98E-7A3EC9856736}" destId="{D37ECD37-5D27-4F00-BE43-EE2CBC34B805}" srcOrd="8" destOrd="0" parTransId="{8C247E1F-B775-42D2-8047-C1EC7BD6A5A2}" sibTransId="{4839513B-2C98-4187-8C8C-5B155C922DD3}"/>
    <dgm:cxn modelId="{151105A8-3C04-4C3C-93B7-48C6BB49B6F4}" type="presOf" srcId="{A394F2A2-CD30-43D3-B564-20AF0C1BCDE0}" destId="{4DB2B4C5-616C-405E-B54B-EC90D8032080}" srcOrd="0" destOrd="0" presId="urn:microsoft.com/office/officeart/2005/8/layout/chevron1"/>
    <dgm:cxn modelId="{B9D95BD0-6140-4C7E-9844-B93FBE886311}" type="presOf" srcId="{4F4BE03B-5823-4BC9-90E7-5574EACE09E5}" destId="{B1F183C7-4128-441B-9040-CEC245AAA671}" srcOrd="0" destOrd="0" presId="urn:microsoft.com/office/officeart/2005/8/layout/chevron1"/>
    <dgm:cxn modelId="{91FB6AAA-09CB-4C3C-8F4D-18C9113411AA}" type="presOf" srcId="{152C0CFE-894B-4DCD-9C91-F961733C6C8A}" destId="{8A2BE7DB-4C89-4154-B8EA-CABB8FBA3A4D}" srcOrd="0" destOrd="0" presId="urn:microsoft.com/office/officeart/2005/8/layout/chevron1"/>
    <dgm:cxn modelId="{236F5271-5324-48ED-B370-7CE13B9441D6}"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BDDED7E0-3E40-4955-ACE6-AE1EE03D0636}" type="presOf" srcId="{291C0FC7-AB24-426F-95D5-FCAF7D733561}" destId="{5F3D77F7-2117-4310-82D6-CC46973B96CE}" srcOrd="0" destOrd="0" presId="urn:microsoft.com/office/officeart/2005/8/layout/chevron1"/>
    <dgm:cxn modelId="{8ABC3B4B-FD54-4BEE-AA06-A2280ECAF839}" type="presOf" srcId="{B2D8824F-FCA3-40D3-ADF0-216360405402}" destId="{48DB6C72-9476-46A8-A7B1-362834A04659}"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2CE8B806-3114-401B-A12F-C421B0E739C6}" type="presOf" srcId="{D3E32C3F-8B1E-4470-AE4B-AF7542F719A6}" destId="{9101A43E-9FA8-44D0-8B4B-B43A17F0B301}" srcOrd="0" destOrd="0" presId="urn:microsoft.com/office/officeart/2005/8/layout/chevron1"/>
    <dgm:cxn modelId="{A71DE30A-70A7-415E-BE23-A57DA03B7316}" type="presParOf" srcId="{E59A3AA1-4456-482F-A514-10BC3E030511}" destId="{66CDB625-3567-480B-96DE-D9D9D01967F2}" srcOrd="0" destOrd="0" presId="urn:microsoft.com/office/officeart/2005/8/layout/chevron1"/>
    <dgm:cxn modelId="{9386FA4E-C825-4922-916B-47A4D3D7097C}" type="presParOf" srcId="{E59A3AA1-4456-482F-A514-10BC3E030511}" destId="{E69D944D-B787-42EF-A817-E7A1749D8736}" srcOrd="1" destOrd="0" presId="urn:microsoft.com/office/officeart/2005/8/layout/chevron1"/>
    <dgm:cxn modelId="{8841B57B-5EF1-4E12-8A33-596A9BEE66C2}" type="presParOf" srcId="{E59A3AA1-4456-482F-A514-10BC3E030511}" destId="{4DB2B4C5-616C-405E-B54B-EC90D8032080}" srcOrd="2" destOrd="0" presId="urn:microsoft.com/office/officeart/2005/8/layout/chevron1"/>
    <dgm:cxn modelId="{A1F813E6-79B5-4210-8553-E5A758F03AC6}" type="presParOf" srcId="{E59A3AA1-4456-482F-A514-10BC3E030511}" destId="{7DA42B1B-26D5-4E6A-878A-49EBD2B2C1FF}" srcOrd="3" destOrd="0" presId="urn:microsoft.com/office/officeart/2005/8/layout/chevron1"/>
    <dgm:cxn modelId="{C0A78C21-DF7A-433E-BBF2-DDD6EB29F1AD}" type="presParOf" srcId="{E59A3AA1-4456-482F-A514-10BC3E030511}" destId="{8A2BE7DB-4C89-4154-B8EA-CABB8FBA3A4D}" srcOrd="4" destOrd="0" presId="urn:microsoft.com/office/officeart/2005/8/layout/chevron1"/>
    <dgm:cxn modelId="{52C27C9C-50AF-490F-859B-D8CC07FD2B4C}" type="presParOf" srcId="{E59A3AA1-4456-482F-A514-10BC3E030511}" destId="{9FB0C3C1-B3A4-4406-AA3E-E68647A3DA67}" srcOrd="5" destOrd="0" presId="urn:microsoft.com/office/officeart/2005/8/layout/chevron1"/>
    <dgm:cxn modelId="{BC65A218-171E-488C-91CB-CEFB08957F7C}" type="presParOf" srcId="{E59A3AA1-4456-482F-A514-10BC3E030511}" destId="{9101A43E-9FA8-44D0-8B4B-B43A17F0B301}" srcOrd="6" destOrd="0" presId="urn:microsoft.com/office/officeart/2005/8/layout/chevron1"/>
    <dgm:cxn modelId="{3822965B-0F78-470D-98B5-2E32089A6106}" type="presParOf" srcId="{E59A3AA1-4456-482F-A514-10BC3E030511}" destId="{C0DF1FFC-718C-41AA-B1B4-399BF34A0C85}" srcOrd="7" destOrd="0" presId="urn:microsoft.com/office/officeart/2005/8/layout/chevron1"/>
    <dgm:cxn modelId="{2997F022-7648-4A93-967C-3D1F6ED0C576}" type="presParOf" srcId="{E59A3AA1-4456-482F-A514-10BC3E030511}" destId="{D79C9E3A-AD33-4FF1-AFAE-6CA861113F40}" srcOrd="8" destOrd="0" presId="urn:microsoft.com/office/officeart/2005/8/layout/chevron1"/>
    <dgm:cxn modelId="{B3395E22-3A9C-47A4-8F3B-3FD7C990230A}" type="presParOf" srcId="{E59A3AA1-4456-482F-A514-10BC3E030511}" destId="{DC91B037-C717-4289-AE40-B313064DA6EB}" srcOrd="9" destOrd="0" presId="urn:microsoft.com/office/officeart/2005/8/layout/chevron1"/>
    <dgm:cxn modelId="{2A38F9D9-9C9E-4688-9B05-FCB94269DD5D}" type="presParOf" srcId="{E59A3AA1-4456-482F-A514-10BC3E030511}" destId="{48DB6C72-9476-46A8-A7B1-362834A04659}" srcOrd="10" destOrd="0" presId="urn:microsoft.com/office/officeart/2005/8/layout/chevron1"/>
    <dgm:cxn modelId="{FFB037B4-B41D-4E3D-B22C-8F8EE345999E}" type="presParOf" srcId="{E59A3AA1-4456-482F-A514-10BC3E030511}" destId="{73C3018A-3BCF-4F84-94F0-C1E38A294445}" srcOrd="11" destOrd="0" presId="urn:microsoft.com/office/officeart/2005/8/layout/chevron1"/>
    <dgm:cxn modelId="{F25AA6F3-83B8-46A7-9614-9B3C1A3F9F3F}" type="presParOf" srcId="{E59A3AA1-4456-482F-A514-10BC3E030511}" destId="{B1F183C7-4128-441B-9040-CEC245AAA671}" srcOrd="12" destOrd="0" presId="urn:microsoft.com/office/officeart/2005/8/layout/chevron1"/>
    <dgm:cxn modelId="{C5EA8DD6-81AD-456B-819A-F4D3B18301D5}" type="presParOf" srcId="{E59A3AA1-4456-482F-A514-10BC3E030511}" destId="{8B966912-F62C-4DB4-9741-03C78CA48121}" srcOrd="13" destOrd="0" presId="urn:microsoft.com/office/officeart/2005/8/layout/chevron1"/>
    <dgm:cxn modelId="{4B669D52-12E4-4692-974E-23B133FC40A9}" type="presParOf" srcId="{E59A3AA1-4456-482F-A514-10BC3E030511}" destId="{5F3D77F7-2117-4310-82D6-CC46973B96CE}" srcOrd="14" destOrd="0" presId="urn:microsoft.com/office/officeart/2005/8/layout/chevron1"/>
    <dgm:cxn modelId="{75676A10-B24C-43D0-9501-145EAB2CC8C5}" type="presParOf" srcId="{E59A3AA1-4456-482F-A514-10BC3E030511}" destId="{F6A0359B-3FA6-4B4A-90B3-02DF2DDF0B4E}" srcOrd="15" destOrd="0" presId="urn:microsoft.com/office/officeart/2005/8/layout/chevron1"/>
    <dgm:cxn modelId="{7F0B55D2-D8CF-4AAE-B29E-FAFC884D14FA}"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1E3F83A-D2F5-4B40-8024-CF956CA61E68}" type="doc">
      <dgm:prSet loTypeId="urn:microsoft.com/office/officeart/2005/8/layout/target3" loCatId="relationship" qsTypeId="urn:microsoft.com/office/officeart/2005/8/quickstyle/3d2" qsCatId="3D" csTypeId="urn:microsoft.com/office/officeart/2005/8/colors/accent2_3" csCatId="accent2" phldr="1"/>
      <dgm:spPr/>
      <dgm:t>
        <a:bodyPr/>
        <a:lstStyle/>
        <a:p>
          <a:endParaRPr lang="en-US"/>
        </a:p>
      </dgm:t>
    </dgm:pt>
    <dgm:pt modelId="{11CAC7F7-7303-464F-9434-5BF86E5CB867}">
      <dgm:prSet phldrT="[Text]"/>
      <dgm:spPr/>
      <dgm:t>
        <a:bodyPr/>
        <a:lstStyle/>
        <a:p>
          <a:r>
            <a:rPr lang="en-US" dirty="0" smtClean="0">
              <a:solidFill>
                <a:schemeClr val="accent2"/>
              </a:solidFill>
            </a:rPr>
            <a:t>WHY</a:t>
          </a:r>
          <a:endParaRPr lang="en-US" dirty="0">
            <a:solidFill>
              <a:schemeClr val="accent2"/>
            </a:solidFill>
          </a:endParaRPr>
        </a:p>
      </dgm:t>
    </dgm:pt>
    <dgm:pt modelId="{C36FAD34-1333-40B2-8883-EA58F63F63E0}" type="parTrans" cxnId="{F27DB723-5C58-415B-92BA-C1D88A4E66A6}">
      <dgm:prSet/>
      <dgm:spPr/>
      <dgm:t>
        <a:bodyPr/>
        <a:lstStyle/>
        <a:p>
          <a:endParaRPr lang="en-US"/>
        </a:p>
      </dgm:t>
    </dgm:pt>
    <dgm:pt modelId="{A61D74F0-3268-4606-92FD-C4B22FD6D46F}" type="sibTrans" cxnId="{F27DB723-5C58-415B-92BA-C1D88A4E66A6}">
      <dgm:prSet/>
      <dgm:spPr/>
      <dgm:t>
        <a:bodyPr/>
        <a:lstStyle/>
        <a:p>
          <a:endParaRPr lang="en-US"/>
        </a:p>
      </dgm:t>
    </dgm:pt>
    <dgm:pt modelId="{4FC3B907-6380-4055-9801-88821DE16D9C}">
      <dgm:prSet phldrT="[Text]"/>
      <dgm:spPr/>
      <dgm:t>
        <a:bodyPr/>
        <a:lstStyle/>
        <a:p>
          <a:r>
            <a:rPr lang="en-US" dirty="0" smtClean="0">
              <a:solidFill>
                <a:schemeClr val="accent2"/>
              </a:solidFill>
            </a:rPr>
            <a:t>WHAT</a:t>
          </a:r>
          <a:endParaRPr lang="en-US" dirty="0">
            <a:solidFill>
              <a:schemeClr val="accent2"/>
            </a:solidFill>
          </a:endParaRPr>
        </a:p>
      </dgm:t>
    </dgm:pt>
    <dgm:pt modelId="{4BC6C018-C7DB-4B29-AE4D-E2918BB9CF68}" type="parTrans" cxnId="{DC96D2EA-C593-4E16-A0A6-50B15EDB8EB7}">
      <dgm:prSet/>
      <dgm:spPr/>
      <dgm:t>
        <a:bodyPr/>
        <a:lstStyle/>
        <a:p>
          <a:endParaRPr lang="en-US"/>
        </a:p>
      </dgm:t>
    </dgm:pt>
    <dgm:pt modelId="{5717BD97-90E5-4432-9F71-F1F0D73663FE}" type="sibTrans" cxnId="{DC96D2EA-C593-4E16-A0A6-50B15EDB8EB7}">
      <dgm:prSet/>
      <dgm:spPr/>
      <dgm:t>
        <a:bodyPr/>
        <a:lstStyle/>
        <a:p>
          <a:endParaRPr lang="en-US"/>
        </a:p>
      </dgm:t>
    </dgm:pt>
    <dgm:pt modelId="{23E97E34-B1D2-49FB-A057-871BDE9CCE28}">
      <dgm:prSet phldrT="[Text]"/>
      <dgm:spPr/>
      <dgm:t>
        <a:bodyPr/>
        <a:lstStyle/>
        <a:p>
          <a:r>
            <a:rPr lang="en-US" dirty="0" smtClean="0">
              <a:solidFill>
                <a:schemeClr val="accent2"/>
              </a:solidFill>
            </a:rPr>
            <a:t>HOW</a:t>
          </a:r>
          <a:endParaRPr lang="en-US" dirty="0">
            <a:solidFill>
              <a:schemeClr val="accent2"/>
            </a:solidFill>
          </a:endParaRPr>
        </a:p>
      </dgm:t>
    </dgm:pt>
    <dgm:pt modelId="{D119F470-6CB0-4E8B-B4E5-0D0F4A275A61}" type="parTrans" cxnId="{778A176C-D423-4148-9131-0E0B31E4AB00}">
      <dgm:prSet/>
      <dgm:spPr/>
      <dgm:t>
        <a:bodyPr/>
        <a:lstStyle/>
        <a:p>
          <a:endParaRPr lang="en-US"/>
        </a:p>
      </dgm:t>
    </dgm:pt>
    <dgm:pt modelId="{F41C2130-7EB6-43DC-A849-09A52284108C}" type="sibTrans" cxnId="{778A176C-D423-4148-9131-0E0B31E4AB00}">
      <dgm:prSet/>
      <dgm:spPr/>
      <dgm:t>
        <a:bodyPr/>
        <a:lstStyle/>
        <a:p>
          <a:endParaRPr lang="en-US"/>
        </a:p>
      </dgm:t>
    </dgm:pt>
    <dgm:pt modelId="{BE8A2E1A-900E-400B-AD93-EB82FCA84F59}">
      <dgm:prSet phldrT="[Text]"/>
      <dgm:spPr/>
      <dgm:t>
        <a:bodyPr/>
        <a:lstStyle/>
        <a:p>
          <a:r>
            <a:rPr lang="en-US" dirty="0" smtClean="0">
              <a:solidFill>
                <a:schemeClr val="accent2"/>
              </a:solidFill>
            </a:rPr>
            <a:t>APPLY</a:t>
          </a:r>
          <a:endParaRPr lang="en-US" dirty="0">
            <a:solidFill>
              <a:schemeClr val="accent2"/>
            </a:solidFill>
          </a:endParaRPr>
        </a:p>
      </dgm:t>
    </dgm:pt>
    <dgm:pt modelId="{C8B921EE-F32A-4FE1-A8EE-8D4ADD74379E}" type="parTrans" cxnId="{7C736B72-1704-4611-997F-537D8A4076EC}">
      <dgm:prSet/>
      <dgm:spPr/>
      <dgm:t>
        <a:bodyPr/>
        <a:lstStyle/>
        <a:p>
          <a:endParaRPr lang="en-US"/>
        </a:p>
      </dgm:t>
    </dgm:pt>
    <dgm:pt modelId="{7F1EAC35-F9F3-4FC9-91BF-C9044CFE3996}" type="sibTrans" cxnId="{7C736B72-1704-4611-997F-537D8A4076EC}">
      <dgm:prSet/>
      <dgm:spPr/>
      <dgm:t>
        <a:bodyPr/>
        <a:lstStyle/>
        <a:p>
          <a:endParaRPr lang="en-US"/>
        </a:p>
      </dgm:t>
    </dgm:pt>
    <dgm:pt modelId="{DEBBA099-F2A8-4343-9C67-78FF24D03C76}">
      <dgm:prSet phldrT="[Text]"/>
      <dgm:spPr/>
      <dgm:t>
        <a:bodyPr/>
        <a:lstStyle/>
        <a:p>
          <a:r>
            <a:rPr lang="en-US" dirty="0" smtClean="0">
              <a:solidFill>
                <a:schemeClr val="accent2"/>
              </a:solidFill>
            </a:rPr>
            <a:t>It is important to master new knowledge and skills</a:t>
          </a:r>
          <a:endParaRPr lang="en-US" dirty="0">
            <a:solidFill>
              <a:schemeClr val="accent2"/>
            </a:solidFill>
          </a:endParaRPr>
        </a:p>
      </dgm:t>
    </dgm:pt>
    <dgm:pt modelId="{013EFFDE-1AD4-4B82-86B4-3AC68A702565}" type="parTrans" cxnId="{355D03A7-2EC1-495E-9848-147B99F20647}">
      <dgm:prSet/>
      <dgm:spPr/>
      <dgm:t>
        <a:bodyPr/>
        <a:lstStyle/>
        <a:p>
          <a:endParaRPr lang="en-US"/>
        </a:p>
      </dgm:t>
    </dgm:pt>
    <dgm:pt modelId="{B2C467DF-C3D4-4AE5-A079-9C2F221BBEC1}" type="sibTrans" cxnId="{355D03A7-2EC1-495E-9848-147B99F20647}">
      <dgm:prSet/>
      <dgm:spPr/>
      <dgm:t>
        <a:bodyPr/>
        <a:lstStyle/>
        <a:p>
          <a:endParaRPr lang="en-US"/>
        </a:p>
      </dgm:t>
    </dgm:pt>
    <dgm:pt modelId="{0AA529B0-BDC9-4D91-A4F1-2EB0EB76B1B7}">
      <dgm:prSet phldrT="[Text]"/>
      <dgm:spPr/>
      <dgm:t>
        <a:bodyPr/>
        <a:lstStyle/>
        <a:p>
          <a:r>
            <a:rPr lang="en-US" dirty="0" smtClean="0">
              <a:solidFill>
                <a:schemeClr val="accent2"/>
              </a:solidFill>
            </a:rPr>
            <a:t>Do I need to know, do and believe </a:t>
          </a:r>
          <a:endParaRPr lang="en-US" dirty="0">
            <a:solidFill>
              <a:schemeClr val="accent2"/>
            </a:solidFill>
          </a:endParaRPr>
        </a:p>
      </dgm:t>
    </dgm:pt>
    <dgm:pt modelId="{FE16829A-1AF5-49E8-87EC-537B93C5DEEF}" type="parTrans" cxnId="{3478BAA8-0F9B-4716-A176-F239B6B3B21C}">
      <dgm:prSet/>
      <dgm:spPr/>
      <dgm:t>
        <a:bodyPr/>
        <a:lstStyle/>
        <a:p>
          <a:endParaRPr lang="en-US"/>
        </a:p>
      </dgm:t>
    </dgm:pt>
    <dgm:pt modelId="{05206491-C271-4859-8D7E-8B4CA7E2DC8E}" type="sibTrans" cxnId="{3478BAA8-0F9B-4716-A176-F239B6B3B21C}">
      <dgm:prSet/>
      <dgm:spPr/>
      <dgm:t>
        <a:bodyPr/>
        <a:lstStyle/>
        <a:p>
          <a:endParaRPr lang="en-US"/>
        </a:p>
      </dgm:t>
    </dgm:pt>
    <dgm:pt modelId="{E0B6677D-B0A1-4E59-8C21-D2BB613F64B1}">
      <dgm:prSet phldrT="[Text]"/>
      <dgm:spPr/>
      <dgm:t>
        <a:bodyPr/>
        <a:lstStyle/>
        <a:p>
          <a:r>
            <a:rPr lang="en-US" dirty="0" smtClean="0">
              <a:solidFill>
                <a:schemeClr val="accent2"/>
              </a:solidFill>
            </a:rPr>
            <a:t>To change behavior and do things</a:t>
          </a:r>
          <a:endParaRPr lang="en-US" dirty="0">
            <a:solidFill>
              <a:schemeClr val="accent2"/>
            </a:solidFill>
          </a:endParaRPr>
        </a:p>
      </dgm:t>
    </dgm:pt>
    <dgm:pt modelId="{F1A2E39F-2CB0-46F3-B4E3-9DC6A69C4A28}" type="parTrans" cxnId="{AE9751DD-AC65-45B5-A78D-B247CE958B44}">
      <dgm:prSet/>
      <dgm:spPr/>
      <dgm:t>
        <a:bodyPr/>
        <a:lstStyle/>
        <a:p>
          <a:endParaRPr lang="en-US"/>
        </a:p>
      </dgm:t>
    </dgm:pt>
    <dgm:pt modelId="{73039603-B3C5-4B1E-8A3F-48871DEAAACB}" type="sibTrans" cxnId="{AE9751DD-AC65-45B5-A78D-B247CE958B44}">
      <dgm:prSet/>
      <dgm:spPr/>
      <dgm:t>
        <a:bodyPr/>
        <a:lstStyle/>
        <a:p>
          <a:endParaRPr lang="en-US"/>
        </a:p>
      </dgm:t>
    </dgm:pt>
    <dgm:pt modelId="{1BD721FE-A87D-4B84-98B1-F70BD907B96F}">
      <dgm:prSet phldrT="[Text]"/>
      <dgm:spPr/>
      <dgm:t>
        <a:bodyPr/>
        <a:lstStyle/>
        <a:p>
          <a:r>
            <a:rPr lang="en-US" dirty="0" smtClean="0">
              <a:solidFill>
                <a:schemeClr val="accent2"/>
              </a:solidFill>
            </a:rPr>
            <a:t>Work on behavior change by using new knowledge and skills</a:t>
          </a:r>
          <a:endParaRPr lang="en-US" dirty="0">
            <a:solidFill>
              <a:schemeClr val="accent2"/>
            </a:solidFill>
          </a:endParaRPr>
        </a:p>
      </dgm:t>
    </dgm:pt>
    <dgm:pt modelId="{E7E351FF-B596-4811-93ED-B512576AF6B3}" type="parTrans" cxnId="{8FDBF5A8-A2B2-48DC-AEA6-9877DD444D10}">
      <dgm:prSet/>
      <dgm:spPr/>
      <dgm:t>
        <a:bodyPr/>
        <a:lstStyle/>
        <a:p>
          <a:endParaRPr lang="en-US"/>
        </a:p>
      </dgm:t>
    </dgm:pt>
    <dgm:pt modelId="{5C37549C-1A6B-4F53-B100-B77E2C3924F7}" type="sibTrans" cxnId="{8FDBF5A8-A2B2-48DC-AEA6-9877DD444D10}">
      <dgm:prSet/>
      <dgm:spPr/>
      <dgm:t>
        <a:bodyPr/>
        <a:lstStyle/>
        <a:p>
          <a:endParaRPr lang="en-US"/>
        </a:p>
      </dgm:t>
    </dgm:pt>
    <dgm:pt modelId="{557547E3-F8B6-4CC4-B465-E2088B7385BE}" type="pres">
      <dgm:prSet presAssocID="{11E3F83A-D2F5-4B40-8024-CF956CA61E68}" presName="Name0" presStyleCnt="0">
        <dgm:presLayoutVars>
          <dgm:chMax val="7"/>
          <dgm:dir/>
          <dgm:animLvl val="lvl"/>
          <dgm:resizeHandles val="exact"/>
        </dgm:presLayoutVars>
      </dgm:prSet>
      <dgm:spPr/>
      <dgm:t>
        <a:bodyPr/>
        <a:lstStyle/>
        <a:p>
          <a:endParaRPr lang="en-US"/>
        </a:p>
      </dgm:t>
    </dgm:pt>
    <dgm:pt modelId="{886B9EE3-E95D-4D7A-90A1-66CAB81C0BB4}" type="pres">
      <dgm:prSet presAssocID="{11CAC7F7-7303-464F-9434-5BF86E5CB867}" presName="circle1" presStyleLbl="node1" presStyleIdx="0" presStyleCnt="4"/>
      <dgm:spPr/>
    </dgm:pt>
    <dgm:pt modelId="{B5AA4DBB-2F1C-4553-9FD2-88AB84324BFB}" type="pres">
      <dgm:prSet presAssocID="{11CAC7F7-7303-464F-9434-5BF86E5CB867}" presName="space" presStyleCnt="0"/>
      <dgm:spPr/>
    </dgm:pt>
    <dgm:pt modelId="{103FCC06-210A-4091-B215-AA188DC41420}" type="pres">
      <dgm:prSet presAssocID="{11CAC7F7-7303-464F-9434-5BF86E5CB867}" presName="rect1" presStyleLbl="alignAcc1" presStyleIdx="0" presStyleCnt="4"/>
      <dgm:spPr/>
      <dgm:t>
        <a:bodyPr/>
        <a:lstStyle/>
        <a:p>
          <a:endParaRPr lang="en-US"/>
        </a:p>
      </dgm:t>
    </dgm:pt>
    <dgm:pt modelId="{385A089E-3A38-4624-9957-8E09DFC44B36}" type="pres">
      <dgm:prSet presAssocID="{4FC3B907-6380-4055-9801-88821DE16D9C}" presName="vertSpace2" presStyleLbl="node1" presStyleIdx="0" presStyleCnt="4"/>
      <dgm:spPr/>
    </dgm:pt>
    <dgm:pt modelId="{1574C18B-046A-4134-9478-6434EB41FFE2}" type="pres">
      <dgm:prSet presAssocID="{4FC3B907-6380-4055-9801-88821DE16D9C}" presName="circle2" presStyleLbl="node1" presStyleIdx="1" presStyleCnt="4"/>
      <dgm:spPr/>
    </dgm:pt>
    <dgm:pt modelId="{C1F2DB7A-173E-437E-B5EF-D3BA83F5FD56}" type="pres">
      <dgm:prSet presAssocID="{4FC3B907-6380-4055-9801-88821DE16D9C}" presName="rect2" presStyleLbl="alignAcc1" presStyleIdx="1" presStyleCnt="4"/>
      <dgm:spPr/>
      <dgm:t>
        <a:bodyPr/>
        <a:lstStyle/>
        <a:p>
          <a:endParaRPr lang="en-US"/>
        </a:p>
      </dgm:t>
    </dgm:pt>
    <dgm:pt modelId="{4607638E-49AC-4D64-BA71-6F2B352F0612}" type="pres">
      <dgm:prSet presAssocID="{23E97E34-B1D2-49FB-A057-871BDE9CCE28}" presName="vertSpace3" presStyleLbl="node1" presStyleIdx="1" presStyleCnt="4"/>
      <dgm:spPr/>
    </dgm:pt>
    <dgm:pt modelId="{B42CF06B-22B1-41C9-93AC-0C673E4CA534}" type="pres">
      <dgm:prSet presAssocID="{23E97E34-B1D2-49FB-A057-871BDE9CCE28}" presName="circle3" presStyleLbl="node1" presStyleIdx="2" presStyleCnt="4"/>
      <dgm:spPr/>
    </dgm:pt>
    <dgm:pt modelId="{4E044F43-B374-4DE1-8001-6FF5DBB98984}" type="pres">
      <dgm:prSet presAssocID="{23E97E34-B1D2-49FB-A057-871BDE9CCE28}" presName="rect3" presStyleLbl="alignAcc1" presStyleIdx="2" presStyleCnt="4"/>
      <dgm:spPr/>
      <dgm:t>
        <a:bodyPr/>
        <a:lstStyle/>
        <a:p>
          <a:endParaRPr lang="en-US"/>
        </a:p>
      </dgm:t>
    </dgm:pt>
    <dgm:pt modelId="{80D05E66-D05B-499E-A172-D1A9D2595416}" type="pres">
      <dgm:prSet presAssocID="{BE8A2E1A-900E-400B-AD93-EB82FCA84F59}" presName="vertSpace4" presStyleLbl="node1" presStyleIdx="2" presStyleCnt="4"/>
      <dgm:spPr/>
    </dgm:pt>
    <dgm:pt modelId="{32CB3AA1-1CDC-4D46-9469-325E67AFD2EE}" type="pres">
      <dgm:prSet presAssocID="{BE8A2E1A-900E-400B-AD93-EB82FCA84F59}" presName="circle4" presStyleLbl="node1" presStyleIdx="3" presStyleCnt="4"/>
      <dgm:spPr/>
    </dgm:pt>
    <dgm:pt modelId="{6C63AC14-8BED-43B3-8C2E-BF08FB985070}" type="pres">
      <dgm:prSet presAssocID="{BE8A2E1A-900E-400B-AD93-EB82FCA84F59}" presName="rect4" presStyleLbl="alignAcc1" presStyleIdx="3" presStyleCnt="4"/>
      <dgm:spPr/>
      <dgm:t>
        <a:bodyPr/>
        <a:lstStyle/>
        <a:p>
          <a:endParaRPr lang="en-US"/>
        </a:p>
      </dgm:t>
    </dgm:pt>
    <dgm:pt modelId="{75CFF87D-5B1E-46D7-8BA7-769F6327F5EB}" type="pres">
      <dgm:prSet presAssocID="{11CAC7F7-7303-464F-9434-5BF86E5CB867}" presName="rect1ParTx" presStyleLbl="alignAcc1" presStyleIdx="3" presStyleCnt="4">
        <dgm:presLayoutVars>
          <dgm:chMax val="1"/>
          <dgm:bulletEnabled val="1"/>
        </dgm:presLayoutVars>
      </dgm:prSet>
      <dgm:spPr/>
      <dgm:t>
        <a:bodyPr/>
        <a:lstStyle/>
        <a:p>
          <a:endParaRPr lang="en-US"/>
        </a:p>
      </dgm:t>
    </dgm:pt>
    <dgm:pt modelId="{908F8CA7-C2BD-4E3E-88B6-321D3F994D64}" type="pres">
      <dgm:prSet presAssocID="{11CAC7F7-7303-464F-9434-5BF86E5CB867}" presName="rect1ChTx" presStyleLbl="alignAcc1" presStyleIdx="3" presStyleCnt="4">
        <dgm:presLayoutVars>
          <dgm:bulletEnabled val="1"/>
        </dgm:presLayoutVars>
      </dgm:prSet>
      <dgm:spPr/>
      <dgm:t>
        <a:bodyPr/>
        <a:lstStyle/>
        <a:p>
          <a:endParaRPr lang="en-US"/>
        </a:p>
      </dgm:t>
    </dgm:pt>
    <dgm:pt modelId="{CE7282B7-FFED-4138-B5CC-D37623A5A0B2}" type="pres">
      <dgm:prSet presAssocID="{4FC3B907-6380-4055-9801-88821DE16D9C}" presName="rect2ParTx" presStyleLbl="alignAcc1" presStyleIdx="3" presStyleCnt="4">
        <dgm:presLayoutVars>
          <dgm:chMax val="1"/>
          <dgm:bulletEnabled val="1"/>
        </dgm:presLayoutVars>
      </dgm:prSet>
      <dgm:spPr/>
      <dgm:t>
        <a:bodyPr/>
        <a:lstStyle/>
        <a:p>
          <a:endParaRPr lang="en-US"/>
        </a:p>
      </dgm:t>
    </dgm:pt>
    <dgm:pt modelId="{1E295106-F712-45CC-A450-CD8CB7570618}" type="pres">
      <dgm:prSet presAssocID="{4FC3B907-6380-4055-9801-88821DE16D9C}" presName="rect2ChTx" presStyleLbl="alignAcc1" presStyleIdx="3" presStyleCnt="4">
        <dgm:presLayoutVars>
          <dgm:bulletEnabled val="1"/>
        </dgm:presLayoutVars>
      </dgm:prSet>
      <dgm:spPr/>
      <dgm:t>
        <a:bodyPr/>
        <a:lstStyle/>
        <a:p>
          <a:endParaRPr lang="en-US"/>
        </a:p>
      </dgm:t>
    </dgm:pt>
    <dgm:pt modelId="{8124E8E1-C79F-42B5-882A-5C5E235F6EC8}" type="pres">
      <dgm:prSet presAssocID="{23E97E34-B1D2-49FB-A057-871BDE9CCE28}" presName="rect3ParTx" presStyleLbl="alignAcc1" presStyleIdx="3" presStyleCnt="4">
        <dgm:presLayoutVars>
          <dgm:chMax val="1"/>
          <dgm:bulletEnabled val="1"/>
        </dgm:presLayoutVars>
      </dgm:prSet>
      <dgm:spPr/>
      <dgm:t>
        <a:bodyPr/>
        <a:lstStyle/>
        <a:p>
          <a:endParaRPr lang="en-US"/>
        </a:p>
      </dgm:t>
    </dgm:pt>
    <dgm:pt modelId="{1AAECC49-D021-45F8-B7C5-06A7EB15FBB4}" type="pres">
      <dgm:prSet presAssocID="{23E97E34-B1D2-49FB-A057-871BDE9CCE28}" presName="rect3ChTx" presStyleLbl="alignAcc1" presStyleIdx="3" presStyleCnt="4">
        <dgm:presLayoutVars>
          <dgm:bulletEnabled val="1"/>
        </dgm:presLayoutVars>
      </dgm:prSet>
      <dgm:spPr/>
      <dgm:t>
        <a:bodyPr/>
        <a:lstStyle/>
        <a:p>
          <a:endParaRPr lang="en-US"/>
        </a:p>
      </dgm:t>
    </dgm:pt>
    <dgm:pt modelId="{A4D31EB5-895D-4C3C-88C6-F7C3A19EDAB0}" type="pres">
      <dgm:prSet presAssocID="{BE8A2E1A-900E-400B-AD93-EB82FCA84F59}" presName="rect4ParTx" presStyleLbl="alignAcc1" presStyleIdx="3" presStyleCnt="4">
        <dgm:presLayoutVars>
          <dgm:chMax val="1"/>
          <dgm:bulletEnabled val="1"/>
        </dgm:presLayoutVars>
      </dgm:prSet>
      <dgm:spPr/>
      <dgm:t>
        <a:bodyPr/>
        <a:lstStyle/>
        <a:p>
          <a:endParaRPr lang="en-US"/>
        </a:p>
      </dgm:t>
    </dgm:pt>
    <dgm:pt modelId="{5AF73783-3255-4D45-B9B3-FDF506741097}" type="pres">
      <dgm:prSet presAssocID="{BE8A2E1A-900E-400B-AD93-EB82FCA84F59}" presName="rect4ChTx" presStyleLbl="alignAcc1" presStyleIdx="3" presStyleCnt="4">
        <dgm:presLayoutVars>
          <dgm:bulletEnabled val="1"/>
        </dgm:presLayoutVars>
      </dgm:prSet>
      <dgm:spPr/>
      <dgm:t>
        <a:bodyPr/>
        <a:lstStyle/>
        <a:p>
          <a:endParaRPr lang="en-US"/>
        </a:p>
      </dgm:t>
    </dgm:pt>
  </dgm:ptLst>
  <dgm:cxnLst>
    <dgm:cxn modelId="{3478BAA8-0F9B-4716-A176-F239B6B3B21C}" srcId="{4FC3B907-6380-4055-9801-88821DE16D9C}" destId="{0AA529B0-BDC9-4D91-A4F1-2EB0EB76B1B7}" srcOrd="0" destOrd="0" parTransId="{FE16829A-1AF5-49E8-87EC-537B93C5DEEF}" sibTransId="{05206491-C271-4859-8D7E-8B4CA7E2DC8E}"/>
    <dgm:cxn modelId="{AEA0D0D6-F293-4B68-959D-A70BFE834267}" type="presOf" srcId="{BE8A2E1A-900E-400B-AD93-EB82FCA84F59}" destId="{6C63AC14-8BED-43B3-8C2E-BF08FB985070}" srcOrd="0" destOrd="0" presId="urn:microsoft.com/office/officeart/2005/8/layout/target3"/>
    <dgm:cxn modelId="{54503E82-A9F8-492F-B09A-E4EFF53554E2}" type="presOf" srcId="{11CAC7F7-7303-464F-9434-5BF86E5CB867}" destId="{75CFF87D-5B1E-46D7-8BA7-769F6327F5EB}" srcOrd="1" destOrd="0" presId="urn:microsoft.com/office/officeart/2005/8/layout/target3"/>
    <dgm:cxn modelId="{9C782496-FA29-479A-B0C3-F19B1CD346E0}" type="presOf" srcId="{4FC3B907-6380-4055-9801-88821DE16D9C}" destId="{C1F2DB7A-173E-437E-B5EF-D3BA83F5FD56}" srcOrd="0" destOrd="0" presId="urn:microsoft.com/office/officeart/2005/8/layout/target3"/>
    <dgm:cxn modelId="{CE139785-328F-4CDA-A922-39157C57B76E}" type="presOf" srcId="{23E97E34-B1D2-49FB-A057-871BDE9CCE28}" destId="{8124E8E1-C79F-42B5-882A-5C5E235F6EC8}" srcOrd="1" destOrd="0" presId="urn:microsoft.com/office/officeart/2005/8/layout/target3"/>
    <dgm:cxn modelId="{C57DB0D6-E02C-4674-9965-98C33382450F}" type="presOf" srcId="{1BD721FE-A87D-4B84-98B1-F70BD907B96F}" destId="{5AF73783-3255-4D45-B9B3-FDF506741097}" srcOrd="0" destOrd="0" presId="urn:microsoft.com/office/officeart/2005/8/layout/target3"/>
    <dgm:cxn modelId="{778A176C-D423-4148-9131-0E0B31E4AB00}" srcId="{11E3F83A-D2F5-4B40-8024-CF956CA61E68}" destId="{23E97E34-B1D2-49FB-A057-871BDE9CCE28}" srcOrd="2" destOrd="0" parTransId="{D119F470-6CB0-4E8B-B4E5-0D0F4A275A61}" sibTransId="{F41C2130-7EB6-43DC-A849-09A52284108C}"/>
    <dgm:cxn modelId="{355D03A7-2EC1-495E-9848-147B99F20647}" srcId="{11CAC7F7-7303-464F-9434-5BF86E5CB867}" destId="{DEBBA099-F2A8-4343-9C67-78FF24D03C76}" srcOrd="0" destOrd="0" parTransId="{013EFFDE-1AD4-4B82-86B4-3AC68A702565}" sibTransId="{B2C467DF-C3D4-4AE5-A079-9C2F221BBEC1}"/>
    <dgm:cxn modelId="{CCB286EA-D804-4A09-8BC8-7A321799E85A}" type="presOf" srcId="{4FC3B907-6380-4055-9801-88821DE16D9C}" destId="{CE7282B7-FFED-4138-B5CC-D37623A5A0B2}" srcOrd="1" destOrd="0" presId="urn:microsoft.com/office/officeart/2005/8/layout/target3"/>
    <dgm:cxn modelId="{805369CE-A456-4D1C-BA3E-F465DFF67A13}" type="presOf" srcId="{DEBBA099-F2A8-4343-9C67-78FF24D03C76}" destId="{908F8CA7-C2BD-4E3E-88B6-321D3F994D64}" srcOrd="0" destOrd="0" presId="urn:microsoft.com/office/officeart/2005/8/layout/target3"/>
    <dgm:cxn modelId="{AE9751DD-AC65-45B5-A78D-B247CE958B44}" srcId="{23E97E34-B1D2-49FB-A057-871BDE9CCE28}" destId="{E0B6677D-B0A1-4E59-8C21-D2BB613F64B1}" srcOrd="0" destOrd="0" parTransId="{F1A2E39F-2CB0-46F3-B4E3-9DC6A69C4A28}" sibTransId="{73039603-B3C5-4B1E-8A3F-48871DEAAACB}"/>
    <dgm:cxn modelId="{8FDBF5A8-A2B2-48DC-AEA6-9877DD444D10}" srcId="{BE8A2E1A-900E-400B-AD93-EB82FCA84F59}" destId="{1BD721FE-A87D-4B84-98B1-F70BD907B96F}" srcOrd="0" destOrd="0" parTransId="{E7E351FF-B596-4811-93ED-B512576AF6B3}" sibTransId="{5C37549C-1A6B-4F53-B100-B77E2C3924F7}"/>
    <dgm:cxn modelId="{D85566E6-8D1E-4FE1-8F8C-6707B95A8267}" type="presOf" srcId="{0AA529B0-BDC9-4D91-A4F1-2EB0EB76B1B7}" destId="{1E295106-F712-45CC-A450-CD8CB7570618}" srcOrd="0" destOrd="0" presId="urn:microsoft.com/office/officeart/2005/8/layout/target3"/>
    <dgm:cxn modelId="{6794AD9B-90FD-42DF-80EE-FC5A57934C2B}" type="presOf" srcId="{11CAC7F7-7303-464F-9434-5BF86E5CB867}" destId="{103FCC06-210A-4091-B215-AA188DC41420}" srcOrd="0" destOrd="0" presId="urn:microsoft.com/office/officeart/2005/8/layout/target3"/>
    <dgm:cxn modelId="{7E35FE38-B901-4D2B-89FE-6DBA9FD3F5C2}" type="presOf" srcId="{BE8A2E1A-900E-400B-AD93-EB82FCA84F59}" destId="{A4D31EB5-895D-4C3C-88C6-F7C3A19EDAB0}" srcOrd="1" destOrd="0" presId="urn:microsoft.com/office/officeart/2005/8/layout/target3"/>
    <dgm:cxn modelId="{7C736B72-1704-4611-997F-537D8A4076EC}" srcId="{11E3F83A-D2F5-4B40-8024-CF956CA61E68}" destId="{BE8A2E1A-900E-400B-AD93-EB82FCA84F59}" srcOrd="3" destOrd="0" parTransId="{C8B921EE-F32A-4FE1-A8EE-8D4ADD74379E}" sibTransId="{7F1EAC35-F9F3-4FC9-91BF-C9044CFE3996}"/>
    <dgm:cxn modelId="{F27DB723-5C58-415B-92BA-C1D88A4E66A6}" srcId="{11E3F83A-D2F5-4B40-8024-CF956CA61E68}" destId="{11CAC7F7-7303-464F-9434-5BF86E5CB867}" srcOrd="0" destOrd="0" parTransId="{C36FAD34-1333-40B2-8883-EA58F63F63E0}" sibTransId="{A61D74F0-3268-4606-92FD-C4B22FD6D46F}"/>
    <dgm:cxn modelId="{7E62D154-AC39-48B0-9989-61CCED8CE55D}" type="presOf" srcId="{11E3F83A-D2F5-4B40-8024-CF956CA61E68}" destId="{557547E3-F8B6-4CC4-B465-E2088B7385BE}" srcOrd="0" destOrd="0" presId="urn:microsoft.com/office/officeart/2005/8/layout/target3"/>
    <dgm:cxn modelId="{4961B5F3-0C3B-43A7-B18F-4C5DD3BF69E3}" type="presOf" srcId="{23E97E34-B1D2-49FB-A057-871BDE9CCE28}" destId="{4E044F43-B374-4DE1-8001-6FF5DBB98984}" srcOrd="0" destOrd="0" presId="urn:microsoft.com/office/officeart/2005/8/layout/target3"/>
    <dgm:cxn modelId="{DC96D2EA-C593-4E16-A0A6-50B15EDB8EB7}" srcId="{11E3F83A-D2F5-4B40-8024-CF956CA61E68}" destId="{4FC3B907-6380-4055-9801-88821DE16D9C}" srcOrd="1" destOrd="0" parTransId="{4BC6C018-C7DB-4B29-AE4D-E2918BB9CF68}" sibTransId="{5717BD97-90E5-4432-9F71-F1F0D73663FE}"/>
    <dgm:cxn modelId="{00675DE9-DED7-444C-B511-6ABDBEC9BE56}" type="presOf" srcId="{E0B6677D-B0A1-4E59-8C21-D2BB613F64B1}" destId="{1AAECC49-D021-45F8-B7C5-06A7EB15FBB4}" srcOrd="0" destOrd="0" presId="urn:microsoft.com/office/officeart/2005/8/layout/target3"/>
    <dgm:cxn modelId="{E9ECFA42-C26E-49FB-AD29-CA0D4557A0B3}" type="presParOf" srcId="{557547E3-F8B6-4CC4-B465-E2088B7385BE}" destId="{886B9EE3-E95D-4D7A-90A1-66CAB81C0BB4}" srcOrd="0" destOrd="0" presId="urn:microsoft.com/office/officeart/2005/8/layout/target3"/>
    <dgm:cxn modelId="{699E7B8E-5DF6-420B-BD25-8C1B885630FC}" type="presParOf" srcId="{557547E3-F8B6-4CC4-B465-E2088B7385BE}" destId="{B5AA4DBB-2F1C-4553-9FD2-88AB84324BFB}" srcOrd="1" destOrd="0" presId="urn:microsoft.com/office/officeart/2005/8/layout/target3"/>
    <dgm:cxn modelId="{CBF5247B-698A-48C3-843E-7F66B8BCDDF7}" type="presParOf" srcId="{557547E3-F8B6-4CC4-B465-E2088B7385BE}" destId="{103FCC06-210A-4091-B215-AA188DC41420}" srcOrd="2" destOrd="0" presId="urn:microsoft.com/office/officeart/2005/8/layout/target3"/>
    <dgm:cxn modelId="{8C828C49-B514-4F4C-B372-ED7900075E28}" type="presParOf" srcId="{557547E3-F8B6-4CC4-B465-E2088B7385BE}" destId="{385A089E-3A38-4624-9957-8E09DFC44B36}" srcOrd="3" destOrd="0" presId="urn:microsoft.com/office/officeart/2005/8/layout/target3"/>
    <dgm:cxn modelId="{C1CFB849-460E-40D4-884E-8CB608F363C7}" type="presParOf" srcId="{557547E3-F8B6-4CC4-B465-E2088B7385BE}" destId="{1574C18B-046A-4134-9478-6434EB41FFE2}" srcOrd="4" destOrd="0" presId="urn:microsoft.com/office/officeart/2005/8/layout/target3"/>
    <dgm:cxn modelId="{3572500F-2797-49C8-B987-4CD1D6DDC3C0}" type="presParOf" srcId="{557547E3-F8B6-4CC4-B465-E2088B7385BE}" destId="{C1F2DB7A-173E-437E-B5EF-D3BA83F5FD56}" srcOrd="5" destOrd="0" presId="urn:microsoft.com/office/officeart/2005/8/layout/target3"/>
    <dgm:cxn modelId="{E9450CF2-1C6C-4894-AF35-F28BCD5ADAF4}" type="presParOf" srcId="{557547E3-F8B6-4CC4-B465-E2088B7385BE}" destId="{4607638E-49AC-4D64-BA71-6F2B352F0612}" srcOrd="6" destOrd="0" presId="urn:microsoft.com/office/officeart/2005/8/layout/target3"/>
    <dgm:cxn modelId="{D3F4CFAE-F781-40AA-B33B-AD6D37D20458}" type="presParOf" srcId="{557547E3-F8B6-4CC4-B465-E2088B7385BE}" destId="{B42CF06B-22B1-41C9-93AC-0C673E4CA534}" srcOrd="7" destOrd="0" presId="urn:microsoft.com/office/officeart/2005/8/layout/target3"/>
    <dgm:cxn modelId="{0C03987F-13A7-4F9A-9B0B-B02190D11E3E}" type="presParOf" srcId="{557547E3-F8B6-4CC4-B465-E2088B7385BE}" destId="{4E044F43-B374-4DE1-8001-6FF5DBB98984}" srcOrd="8" destOrd="0" presId="urn:microsoft.com/office/officeart/2005/8/layout/target3"/>
    <dgm:cxn modelId="{A3BF1BB7-D214-4A70-B4E7-2192ACEEBDA0}" type="presParOf" srcId="{557547E3-F8B6-4CC4-B465-E2088B7385BE}" destId="{80D05E66-D05B-499E-A172-D1A9D2595416}" srcOrd="9" destOrd="0" presId="urn:microsoft.com/office/officeart/2005/8/layout/target3"/>
    <dgm:cxn modelId="{9D902D87-348C-4359-82D3-AF94E7B86F16}" type="presParOf" srcId="{557547E3-F8B6-4CC4-B465-E2088B7385BE}" destId="{32CB3AA1-1CDC-4D46-9469-325E67AFD2EE}" srcOrd="10" destOrd="0" presId="urn:microsoft.com/office/officeart/2005/8/layout/target3"/>
    <dgm:cxn modelId="{5B735211-0B7E-4DC4-8B70-EBA3DBA60F72}" type="presParOf" srcId="{557547E3-F8B6-4CC4-B465-E2088B7385BE}" destId="{6C63AC14-8BED-43B3-8C2E-BF08FB985070}" srcOrd="11" destOrd="0" presId="urn:microsoft.com/office/officeart/2005/8/layout/target3"/>
    <dgm:cxn modelId="{58EB0EBA-AED8-4342-9BDD-96F4B1E46381}" type="presParOf" srcId="{557547E3-F8B6-4CC4-B465-E2088B7385BE}" destId="{75CFF87D-5B1E-46D7-8BA7-769F6327F5EB}" srcOrd="12" destOrd="0" presId="urn:microsoft.com/office/officeart/2005/8/layout/target3"/>
    <dgm:cxn modelId="{6B6E6093-E040-48B3-89BA-885ECFBE4892}" type="presParOf" srcId="{557547E3-F8B6-4CC4-B465-E2088B7385BE}" destId="{908F8CA7-C2BD-4E3E-88B6-321D3F994D64}" srcOrd="13" destOrd="0" presId="urn:microsoft.com/office/officeart/2005/8/layout/target3"/>
    <dgm:cxn modelId="{FB76C8D6-149C-4D7A-BE60-53AB85EAC6FA}" type="presParOf" srcId="{557547E3-F8B6-4CC4-B465-E2088B7385BE}" destId="{CE7282B7-FFED-4138-B5CC-D37623A5A0B2}" srcOrd="14" destOrd="0" presId="urn:microsoft.com/office/officeart/2005/8/layout/target3"/>
    <dgm:cxn modelId="{A9D55304-2050-4E67-985D-6D60756F723C}" type="presParOf" srcId="{557547E3-F8B6-4CC4-B465-E2088B7385BE}" destId="{1E295106-F712-45CC-A450-CD8CB7570618}" srcOrd="15" destOrd="0" presId="urn:microsoft.com/office/officeart/2005/8/layout/target3"/>
    <dgm:cxn modelId="{D8ADF1B5-CD5E-4B69-A743-AC5B9218B0BE}" type="presParOf" srcId="{557547E3-F8B6-4CC4-B465-E2088B7385BE}" destId="{8124E8E1-C79F-42B5-882A-5C5E235F6EC8}" srcOrd="16" destOrd="0" presId="urn:microsoft.com/office/officeart/2005/8/layout/target3"/>
    <dgm:cxn modelId="{68FB7DC3-C9C5-428A-BA28-16232296C7E3}" type="presParOf" srcId="{557547E3-F8B6-4CC4-B465-E2088B7385BE}" destId="{1AAECC49-D021-45F8-B7C5-06A7EB15FBB4}" srcOrd="17" destOrd="0" presId="urn:microsoft.com/office/officeart/2005/8/layout/target3"/>
    <dgm:cxn modelId="{DFC5803A-75B2-4D46-8E22-F068D0F987FB}" type="presParOf" srcId="{557547E3-F8B6-4CC4-B465-E2088B7385BE}" destId="{A4D31EB5-895D-4C3C-88C6-F7C3A19EDAB0}" srcOrd="18" destOrd="0" presId="urn:microsoft.com/office/officeart/2005/8/layout/target3"/>
    <dgm:cxn modelId="{31A717E6-D9BA-42AD-B05F-C458A14339E4}" type="presParOf" srcId="{557547E3-F8B6-4CC4-B465-E2088B7385BE}" destId="{5AF73783-3255-4D45-B9B3-FDF506741097}"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2E75B6"/>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2D1233A8-7D70-4885-B273-4F9D8AB88BFF}" srcId="{85014035-4376-41F7-B98E-7A3EC9856736}" destId="{B2D8824F-FCA3-40D3-ADF0-216360405402}" srcOrd="5" destOrd="0" parTransId="{ABEF4102-6A7F-4ADF-A92B-6D65F516C652}" sibTransId="{FFEC8B86-5E08-4CC5-B080-5EC8CD9FA928}"/>
    <dgm:cxn modelId="{5BB4224B-1927-4EED-A351-44104FDFFB7C}" type="presOf" srcId="{85014035-4376-41F7-B98E-7A3EC9856736}" destId="{E59A3AA1-4456-482F-A514-10BC3E030511}"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1003EEA0-98A1-476F-B184-2AA2F3B71EAE}" type="presOf" srcId="{4F4BE03B-5823-4BC9-90E7-5574EACE09E5}" destId="{B1F183C7-4128-441B-9040-CEC245AAA671}" srcOrd="0" destOrd="0" presId="urn:microsoft.com/office/officeart/2005/8/layout/chevron1"/>
    <dgm:cxn modelId="{913DACF1-E0FB-46A7-9F7F-8D4279633409}" srcId="{85014035-4376-41F7-B98E-7A3EC9856736}" destId="{152C0CFE-894B-4DCD-9C91-F961733C6C8A}" srcOrd="2" destOrd="0" parTransId="{1F637CD6-718F-42E8-BF1F-09380C90001C}" sibTransId="{DBF94304-B246-4969-8A3A-684D85AC9738}"/>
    <dgm:cxn modelId="{FEF3969E-33E2-48E2-82E8-2E710F3832D8}" type="presOf" srcId="{A394F2A2-CD30-43D3-B564-20AF0C1BCDE0}" destId="{4DB2B4C5-616C-405E-B54B-EC90D8032080}" srcOrd="0" destOrd="0" presId="urn:microsoft.com/office/officeart/2005/8/layout/chevron1"/>
    <dgm:cxn modelId="{344451E3-4AEC-427A-9586-0AB8DB4BFA80}" type="presOf" srcId="{B2D8824F-FCA3-40D3-ADF0-216360405402}" destId="{48DB6C72-9476-46A8-A7B1-362834A04659}" srcOrd="0" destOrd="0" presId="urn:microsoft.com/office/officeart/2005/8/layout/chevron1"/>
    <dgm:cxn modelId="{28774BAF-6F8E-4145-98B9-B6F98A380470}" type="presOf" srcId="{291C0FC7-AB24-426F-95D5-FCAF7D733561}" destId="{5F3D77F7-2117-4310-82D6-CC46973B96CE}"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5D5EFE9E-AE1D-43D4-94F7-69EC778908C6}" srcId="{85014035-4376-41F7-B98E-7A3EC9856736}" destId="{D37ECD37-5D27-4F00-BE43-EE2CBC34B805}" srcOrd="8" destOrd="0" parTransId="{8C247E1F-B775-42D2-8047-C1EC7BD6A5A2}" sibTransId="{4839513B-2C98-4187-8C8C-5B155C922DD3}"/>
    <dgm:cxn modelId="{492E7A2D-2279-46C4-8412-94F770DEDCB8}" type="presOf" srcId="{152C0CFE-894B-4DCD-9C91-F961733C6C8A}" destId="{8A2BE7DB-4C89-4154-B8EA-CABB8FBA3A4D}" srcOrd="0" destOrd="0" presId="urn:microsoft.com/office/officeart/2005/8/layout/chevron1"/>
    <dgm:cxn modelId="{CAF17191-1592-4992-9A42-2AEC203EF9E4}" type="presOf" srcId="{7C140BA5-61A2-4C44-8F2C-83C38D316D75}" destId="{66CDB625-3567-480B-96DE-D9D9D01967F2}" srcOrd="0" destOrd="0" presId="urn:microsoft.com/office/officeart/2005/8/layout/chevron1"/>
    <dgm:cxn modelId="{60119B14-1E02-41D0-A175-E11DEB933AD9}" type="presOf" srcId="{626C66CD-664C-4CA9-9020-B8D6763AE2FD}" destId="{D79C9E3A-AD33-4FF1-AFAE-6CA861113F40}"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BEE5137-4AAC-43FB-B593-B0DCB6FD7B65}" srcId="{85014035-4376-41F7-B98E-7A3EC9856736}" destId="{D3E32C3F-8B1E-4470-AE4B-AF7542F719A6}" srcOrd="3" destOrd="0" parTransId="{5A5E73D8-D06A-4ADC-A276-A2D3B27F2355}" sibTransId="{A6641514-4AB7-44FE-9E9F-F50761438592}"/>
    <dgm:cxn modelId="{B1252711-38A8-40A7-8CB6-8A2B9FDD5F95}" type="presOf" srcId="{D37ECD37-5D27-4F00-BE43-EE2CBC34B805}" destId="{05E9B768-C4F6-4368-A29F-C29CFF7A938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6EF7D4AF-D6C0-4D87-AF19-A817BACF431C}" type="presOf" srcId="{D3E32C3F-8B1E-4470-AE4B-AF7542F719A6}" destId="{9101A43E-9FA8-44D0-8B4B-B43A17F0B30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7CB1C5F6-1542-4FCB-979F-2CE30669D9C5}" type="presParOf" srcId="{E59A3AA1-4456-482F-A514-10BC3E030511}" destId="{66CDB625-3567-480B-96DE-D9D9D01967F2}" srcOrd="0" destOrd="0" presId="urn:microsoft.com/office/officeart/2005/8/layout/chevron1"/>
    <dgm:cxn modelId="{983AF311-2699-4F0D-AD27-E3A02C16D4C4}" type="presParOf" srcId="{E59A3AA1-4456-482F-A514-10BC3E030511}" destId="{E69D944D-B787-42EF-A817-E7A1749D8736}" srcOrd="1" destOrd="0" presId="urn:microsoft.com/office/officeart/2005/8/layout/chevron1"/>
    <dgm:cxn modelId="{7E9EEB77-B0A0-4968-A973-62E92633A184}" type="presParOf" srcId="{E59A3AA1-4456-482F-A514-10BC3E030511}" destId="{4DB2B4C5-616C-405E-B54B-EC90D8032080}" srcOrd="2" destOrd="0" presId="urn:microsoft.com/office/officeart/2005/8/layout/chevron1"/>
    <dgm:cxn modelId="{BBF2B7EB-4BBB-4FD3-B73E-003EDD77159A}" type="presParOf" srcId="{E59A3AA1-4456-482F-A514-10BC3E030511}" destId="{7DA42B1B-26D5-4E6A-878A-49EBD2B2C1FF}" srcOrd="3" destOrd="0" presId="urn:microsoft.com/office/officeart/2005/8/layout/chevron1"/>
    <dgm:cxn modelId="{EAF22B79-3235-4AF5-B90F-322100EABC52}" type="presParOf" srcId="{E59A3AA1-4456-482F-A514-10BC3E030511}" destId="{8A2BE7DB-4C89-4154-B8EA-CABB8FBA3A4D}" srcOrd="4" destOrd="0" presId="urn:microsoft.com/office/officeart/2005/8/layout/chevron1"/>
    <dgm:cxn modelId="{36EDA18C-0916-4859-97AD-2F5D70992AFF}" type="presParOf" srcId="{E59A3AA1-4456-482F-A514-10BC3E030511}" destId="{9FB0C3C1-B3A4-4406-AA3E-E68647A3DA67}" srcOrd="5" destOrd="0" presId="urn:microsoft.com/office/officeart/2005/8/layout/chevron1"/>
    <dgm:cxn modelId="{55557148-C9A2-43CE-B59D-896A1ABAE739}" type="presParOf" srcId="{E59A3AA1-4456-482F-A514-10BC3E030511}" destId="{9101A43E-9FA8-44D0-8B4B-B43A17F0B301}" srcOrd="6" destOrd="0" presId="urn:microsoft.com/office/officeart/2005/8/layout/chevron1"/>
    <dgm:cxn modelId="{56389424-4621-4A10-A0E1-BE9FD3E77323}" type="presParOf" srcId="{E59A3AA1-4456-482F-A514-10BC3E030511}" destId="{C0DF1FFC-718C-41AA-B1B4-399BF34A0C85}" srcOrd="7" destOrd="0" presId="urn:microsoft.com/office/officeart/2005/8/layout/chevron1"/>
    <dgm:cxn modelId="{8F9590B2-3F5D-437C-AFD2-5D37F2F113C1}" type="presParOf" srcId="{E59A3AA1-4456-482F-A514-10BC3E030511}" destId="{D79C9E3A-AD33-4FF1-AFAE-6CA861113F40}" srcOrd="8" destOrd="0" presId="urn:microsoft.com/office/officeart/2005/8/layout/chevron1"/>
    <dgm:cxn modelId="{9C14795E-0786-4A8F-8E56-6276D816A64C}" type="presParOf" srcId="{E59A3AA1-4456-482F-A514-10BC3E030511}" destId="{DC91B037-C717-4289-AE40-B313064DA6EB}" srcOrd="9" destOrd="0" presId="urn:microsoft.com/office/officeart/2005/8/layout/chevron1"/>
    <dgm:cxn modelId="{BC1D1497-7537-4805-BED7-15EC8F8DEE7C}" type="presParOf" srcId="{E59A3AA1-4456-482F-A514-10BC3E030511}" destId="{48DB6C72-9476-46A8-A7B1-362834A04659}" srcOrd="10" destOrd="0" presId="urn:microsoft.com/office/officeart/2005/8/layout/chevron1"/>
    <dgm:cxn modelId="{CBD33AA8-6E72-40C3-8B79-2FD63FB5A17A}" type="presParOf" srcId="{E59A3AA1-4456-482F-A514-10BC3E030511}" destId="{73C3018A-3BCF-4F84-94F0-C1E38A294445}" srcOrd="11" destOrd="0" presId="urn:microsoft.com/office/officeart/2005/8/layout/chevron1"/>
    <dgm:cxn modelId="{4C889174-ADEC-4EED-B182-4EA18614A1B7}" type="presParOf" srcId="{E59A3AA1-4456-482F-A514-10BC3E030511}" destId="{B1F183C7-4128-441B-9040-CEC245AAA671}" srcOrd="12" destOrd="0" presId="urn:microsoft.com/office/officeart/2005/8/layout/chevron1"/>
    <dgm:cxn modelId="{3E16ACD3-7CD0-44B9-865C-79286110937D}" type="presParOf" srcId="{E59A3AA1-4456-482F-A514-10BC3E030511}" destId="{8B966912-F62C-4DB4-9741-03C78CA48121}" srcOrd="13" destOrd="0" presId="urn:microsoft.com/office/officeart/2005/8/layout/chevron1"/>
    <dgm:cxn modelId="{E00DB90F-CBD4-4377-B244-FA80C08F8736}" type="presParOf" srcId="{E59A3AA1-4456-482F-A514-10BC3E030511}" destId="{5F3D77F7-2117-4310-82D6-CC46973B96CE}" srcOrd="14" destOrd="0" presId="urn:microsoft.com/office/officeart/2005/8/layout/chevron1"/>
    <dgm:cxn modelId="{317E6010-28EA-4F77-B417-EF029B2A598D}" type="presParOf" srcId="{E59A3AA1-4456-482F-A514-10BC3E030511}" destId="{F6A0359B-3FA6-4B4A-90B3-02DF2DDF0B4E}" srcOrd="15" destOrd="0" presId="urn:microsoft.com/office/officeart/2005/8/layout/chevron1"/>
    <dgm:cxn modelId="{901EF8CE-6197-4400-8DC5-D88B3B3225D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2E75B6"/>
        </a:solidFill>
      </dgm:spPr>
      <dgm:t>
        <a:bodyPr/>
        <a:lstStyle/>
        <a:p>
          <a:r>
            <a:rPr lang="en-GB" sz="1300" b="1" dirty="0" smtClean="0">
              <a:solidFill>
                <a:schemeClr val="bg1"/>
              </a:solidFill>
            </a:rPr>
            <a:t>Go Live</a:t>
          </a:r>
          <a:endParaRPr lang="en-GB" sz="1300" b="1" dirty="0">
            <a:solidFill>
              <a:schemeClr val="bg1"/>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B4219A9B-B165-4609-9010-8EEBE45AE804}" type="presOf" srcId="{B2D8824F-FCA3-40D3-ADF0-216360405402}" destId="{48DB6C72-9476-46A8-A7B1-362834A04659}"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930F0BED-24D1-40C5-A01B-8CC52FE57D57}" type="presOf" srcId="{D3E32C3F-8B1E-4470-AE4B-AF7542F719A6}" destId="{9101A43E-9FA8-44D0-8B4B-B43A17F0B30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C79C240F-91B8-4394-B95F-632EA376DDA1}" type="presOf" srcId="{A394F2A2-CD30-43D3-B564-20AF0C1BCDE0}" destId="{4DB2B4C5-616C-405E-B54B-EC90D8032080}" srcOrd="0" destOrd="0" presId="urn:microsoft.com/office/officeart/2005/8/layout/chevron1"/>
    <dgm:cxn modelId="{9ABB2AE9-1D47-44DB-B2F9-9CC88D8DBA0A}" type="presOf" srcId="{D37ECD37-5D27-4F00-BE43-EE2CBC34B805}" destId="{05E9B768-C4F6-4368-A29F-C29CFF7A938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7880004D-E304-4368-8B07-E03AC66E8140}" type="presOf" srcId="{4F4BE03B-5823-4BC9-90E7-5574EACE09E5}" destId="{B1F183C7-4128-441B-9040-CEC245AAA671}" srcOrd="0" destOrd="0" presId="urn:microsoft.com/office/officeart/2005/8/layout/chevron1"/>
    <dgm:cxn modelId="{8EE91F9D-BE2A-48F9-A931-0D21C1FD7ABF}" type="presOf" srcId="{626C66CD-664C-4CA9-9020-B8D6763AE2FD}" destId="{D79C9E3A-AD33-4FF1-AFAE-6CA861113F40}" srcOrd="0" destOrd="0" presId="urn:microsoft.com/office/officeart/2005/8/layout/chevron1"/>
    <dgm:cxn modelId="{0C7EC331-4449-4918-AE44-F85314937089}" type="presOf" srcId="{152C0CFE-894B-4DCD-9C91-F961733C6C8A}" destId="{8A2BE7DB-4C89-4154-B8EA-CABB8FBA3A4D}"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D3D554D9-42FA-4829-85F8-DBF41D5061EE}" type="presOf" srcId="{7C140BA5-61A2-4C44-8F2C-83C38D316D75}" destId="{66CDB625-3567-480B-96DE-D9D9D01967F2}" srcOrd="0" destOrd="0" presId="urn:microsoft.com/office/officeart/2005/8/layout/chevron1"/>
    <dgm:cxn modelId="{A2F2EBB8-E48C-4C81-A5E8-7B35FF0690DA}" type="presOf" srcId="{291C0FC7-AB24-426F-95D5-FCAF7D733561}" destId="{5F3D77F7-2117-4310-82D6-CC46973B96CE}" srcOrd="0" destOrd="0" presId="urn:microsoft.com/office/officeart/2005/8/layout/chevron1"/>
    <dgm:cxn modelId="{038F91F7-8E45-4326-B846-2FA4AE412375}" type="presOf" srcId="{85014035-4376-41F7-B98E-7A3EC9856736}" destId="{E59A3AA1-4456-482F-A514-10BC3E03051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3F796A65-9B40-4C36-AB23-C1F2305679CC}" type="presParOf" srcId="{E59A3AA1-4456-482F-A514-10BC3E030511}" destId="{66CDB625-3567-480B-96DE-D9D9D01967F2}" srcOrd="0" destOrd="0" presId="urn:microsoft.com/office/officeart/2005/8/layout/chevron1"/>
    <dgm:cxn modelId="{7939CCB2-338C-49D6-A006-5816A9B0C1EE}" type="presParOf" srcId="{E59A3AA1-4456-482F-A514-10BC3E030511}" destId="{E69D944D-B787-42EF-A817-E7A1749D8736}" srcOrd="1" destOrd="0" presId="urn:microsoft.com/office/officeart/2005/8/layout/chevron1"/>
    <dgm:cxn modelId="{4588657D-04E7-48B5-9B34-9951954B44E8}" type="presParOf" srcId="{E59A3AA1-4456-482F-A514-10BC3E030511}" destId="{4DB2B4C5-616C-405E-B54B-EC90D8032080}" srcOrd="2" destOrd="0" presId="urn:microsoft.com/office/officeart/2005/8/layout/chevron1"/>
    <dgm:cxn modelId="{205DFD37-14E5-4F3E-81FC-96D1D3D510C2}" type="presParOf" srcId="{E59A3AA1-4456-482F-A514-10BC3E030511}" destId="{7DA42B1B-26D5-4E6A-878A-49EBD2B2C1FF}" srcOrd="3" destOrd="0" presId="urn:microsoft.com/office/officeart/2005/8/layout/chevron1"/>
    <dgm:cxn modelId="{0BD25EC4-A39F-4C4C-9E95-1A2406F7F548}" type="presParOf" srcId="{E59A3AA1-4456-482F-A514-10BC3E030511}" destId="{8A2BE7DB-4C89-4154-B8EA-CABB8FBA3A4D}" srcOrd="4" destOrd="0" presId="urn:microsoft.com/office/officeart/2005/8/layout/chevron1"/>
    <dgm:cxn modelId="{ECA3908D-83B3-4EA4-8EB3-BFBC0DCFF0FA}" type="presParOf" srcId="{E59A3AA1-4456-482F-A514-10BC3E030511}" destId="{9FB0C3C1-B3A4-4406-AA3E-E68647A3DA67}" srcOrd="5" destOrd="0" presId="urn:microsoft.com/office/officeart/2005/8/layout/chevron1"/>
    <dgm:cxn modelId="{65A75A23-AC34-4CC5-82B9-05D9E2EFD55A}" type="presParOf" srcId="{E59A3AA1-4456-482F-A514-10BC3E030511}" destId="{9101A43E-9FA8-44D0-8B4B-B43A17F0B301}" srcOrd="6" destOrd="0" presId="urn:microsoft.com/office/officeart/2005/8/layout/chevron1"/>
    <dgm:cxn modelId="{93003722-C304-4B21-8D9E-560D2D449561}" type="presParOf" srcId="{E59A3AA1-4456-482F-A514-10BC3E030511}" destId="{C0DF1FFC-718C-41AA-B1B4-399BF34A0C85}" srcOrd="7" destOrd="0" presId="urn:microsoft.com/office/officeart/2005/8/layout/chevron1"/>
    <dgm:cxn modelId="{331EAA56-99CC-4A88-85E7-FE5ADB2DFD60}" type="presParOf" srcId="{E59A3AA1-4456-482F-A514-10BC3E030511}" destId="{D79C9E3A-AD33-4FF1-AFAE-6CA861113F40}" srcOrd="8" destOrd="0" presId="urn:microsoft.com/office/officeart/2005/8/layout/chevron1"/>
    <dgm:cxn modelId="{B00B1007-C56B-4131-AAEA-BFC138F87565}" type="presParOf" srcId="{E59A3AA1-4456-482F-A514-10BC3E030511}" destId="{DC91B037-C717-4289-AE40-B313064DA6EB}" srcOrd="9" destOrd="0" presId="urn:microsoft.com/office/officeart/2005/8/layout/chevron1"/>
    <dgm:cxn modelId="{22CD1202-0940-40DB-8F39-2235259EBCC1}" type="presParOf" srcId="{E59A3AA1-4456-482F-A514-10BC3E030511}" destId="{48DB6C72-9476-46A8-A7B1-362834A04659}" srcOrd="10" destOrd="0" presId="urn:microsoft.com/office/officeart/2005/8/layout/chevron1"/>
    <dgm:cxn modelId="{8787F494-093B-4822-8119-BC540BAE8ACA}" type="presParOf" srcId="{E59A3AA1-4456-482F-A514-10BC3E030511}" destId="{73C3018A-3BCF-4F84-94F0-C1E38A294445}" srcOrd="11" destOrd="0" presId="urn:microsoft.com/office/officeart/2005/8/layout/chevron1"/>
    <dgm:cxn modelId="{CE93DC4F-2230-44BB-BB20-76A9BC98BE91}" type="presParOf" srcId="{E59A3AA1-4456-482F-A514-10BC3E030511}" destId="{B1F183C7-4128-441B-9040-CEC245AAA671}" srcOrd="12" destOrd="0" presId="urn:microsoft.com/office/officeart/2005/8/layout/chevron1"/>
    <dgm:cxn modelId="{1DBEF0F0-86BE-4DF8-B0EC-E3A6F4590549}" type="presParOf" srcId="{E59A3AA1-4456-482F-A514-10BC3E030511}" destId="{8B966912-F62C-4DB4-9741-03C78CA48121}" srcOrd="13" destOrd="0" presId="urn:microsoft.com/office/officeart/2005/8/layout/chevron1"/>
    <dgm:cxn modelId="{279ECF5B-B03A-4D7E-893A-41D771767BE6}" type="presParOf" srcId="{E59A3AA1-4456-482F-A514-10BC3E030511}" destId="{5F3D77F7-2117-4310-82D6-CC46973B96CE}" srcOrd="14" destOrd="0" presId="urn:microsoft.com/office/officeart/2005/8/layout/chevron1"/>
    <dgm:cxn modelId="{935BC5BB-AA77-4D09-B5E8-5BEC1BC5E061}" type="presParOf" srcId="{E59A3AA1-4456-482F-A514-10BC3E030511}" destId="{F6A0359B-3FA6-4B4A-90B3-02DF2DDF0B4E}" srcOrd="15" destOrd="0" presId="urn:microsoft.com/office/officeart/2005/8/layout/chevron1"/>
    <dgm:cxn modelId="{0F66D30A-4405-43C1-8255-92FEE13A7AEA}"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2E75B6"/>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3E333AEC-F4A4-4599-A791-EA12678FFABF}" type="presOf" srcId="{7C140BA5-61A2-4C44-8F2C-83C38D316D75}" destId="{66CDB625-3567-480B-96DE-D9D9D01967F2}"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930DA173-3FA9-45A3-9874-106C1B52FFF4}" type="presOf" srcId="{152C0CFE-894B-4DCD-9C91-F961733C6C8A}" destId="{8A2BE7DB-4C89-4154-B8EA-CABB8FBA3A4D}"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5623078E-DCD7-40F3-B5A3-13B06F7DD7BF}" type="presOf" srcId="{626C66CD-664C-4CA9-9020-B8D6763AE2FD}" destId="{D79C9E3A-AD33-4FF1-AFAE-6CA861113F40}" srcOrd="0" destOrd="0" presId="urn:microsoft.com/office/officeart/2005/8/layout/chevron1"/>
    <dgm:cxn modelId="{6FE62911-7812-413B-A91A-513E71C90D9F}" type="presOf" srcId="{4F4BE03B-5823-4BC9-90E7-5574EACE09E5}" destId="{B1F183C7-4128-441B-9040-CEC245AAA67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20BB29A3-8499-4653-8ADD-BDC0EA2633BB}" type="presOf" srcId="{A394F2A2-CD30-43D3-B564-20AF0C1BCDE0}" destId="{4DB2B4C5-616C-405E-B54B-EC90D8032080}" srcOrd="0" destOrd="0" presId="urn:microsoft.com/office/officeart/2005/8/layout/chevron1"/>
    <dgm:cxn modelId="{D11F0C5A-5349-4DDD-8ABD-20AD471622CC}" type="presOf" srcId="{D3E32C3F-8B1E-4470-AE4B-AF7542F719A6}" destId="{9101A43E-9FA8-44D0-8B4B-B43A17F0B301}" srcOrd="0" destOrd="0" presId="urn:microsoft.com/office/officeart/2005/8/layout/chevron1"/>
    <dgm:cxn modelId="{02347821-7BD0-46F4-B1BC-0E1244DD2FC0}" type="presOf" srcId="{B2D8824F-FCA3-40D3-ADF0-216360405402}" destId="{48DB6C72-9476-46A8-A7B1-362834A04659}"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0F8E0314-443E-4F40-986D-8242CCC6525D}" type="presOf" srcId="{291C0FC7-AB24-426F-95D5-FCAF7D733561}" destId="{5F3D77F7-2117-4310-82D6-CC46973B96CE}"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C4FEE76B-8EB1-4B58-ADE8-9DA795B80D43}" type="presOf" srcId="{85014035-4376-41F7-B98E-7A3EC9856736}" destId="{E59A3AA1-4456-482F-A514-10BC3E030511}"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3ECE7C30-6829-4FFF-8478-19EFA421EDA2}" type="presOf" srcId="{D37ECD37-5D27-4F00-BE43-EE2CBC34B805}" destId="{05E9B768-C4F6-4368-A29F-C29CFF7A9381}" srcOrd="0" destOrd="0" presId="urn:microsoft.com/office/officeart/2005/8/layout/chevron1"/>
    <dgm:cxn modelId="{5C64C778-B18A-4713-9201-2F2A2DA94516}" type="presParOf" srcId="{E59A3AA1-4456-482F-A514-10BC3E030511}" destId="{66CDB625-3567-480B-96DE-D9D9D01967F2}" srcOrd="0" destOrd="0" presId="urn:microsoft.com/office/officeart/2005/8/layout/chevron1"/>
    <dgm:cxn modelId="{093FB2C9-496A-4EFC-BDD4-A7C0CE7E1C4C}" type="presParOf" srcId="{E59A3AA1-4456-482F-A514-10BC3E030511}" destId="{E69D944D-B787-42EF-A817-E7A1749D8736}" srcOrd="1" destOrd="0" presId="urn:microsoft.com/office/officeart/2005/8/layout/chevron1"/>
    <dgm:cxn modelId="{92AB2C77-BDE8-43A0-BE85-087829AA02B1}" type="presParOf" srcId="{E59A3AA1-4456-482F-A514-10BC3E030511}" destId="{4DB2B4C5-616C-405E-B54B-EC90D8032080}" srcOrd="2" destOrd="0" presId="urn:microsoft.com/office/officeart/2005/8/layout/chevron1"/>
    <dgm:cxn modelId="{9088C6FE-8B79-488B-9F40-093E89978570}" type="presParOf" srcId="{E59A3AA1-4456-482F-A514-10BC3E030511}" destId="{7DA42B1B-26D5-4E6A-878A-49EBD2B2C1FF}" srcOrd="3" destOrd="0" presId="urn:microsoft.com/office/officeart/2005/8/layout/chevron1"/>
    <dgm:cxn modelId="{B2050948-B78D-4921-B2C9-54E33CA6B510}" type="presParOf" srcId="{E59A3AA1-4456-482F-A514-10BC3E030511}" destId="{8A2BE7DB-4C89-4154-B8EA-CABB8FBA3A4D}" srcOrd="4" destOrd="0" presId="urn:microsoft.com/office/officeart/2005/8/layout/chevron1"/>
    <dgm:cxn modelId="{0F02598F-64EB-4B43-87CC-ECCAAED8B67B}" type="presParOf" srcId="{E59A3AA1-4456-482F-A514-10BC3E030511}" destId="{9FB0C3C1-B3A4-4406-AA3E-E68647A3DA67}" srcOrd="5" destOrd="0" presId="urn:microsoft.com/office/officeart/2005/8/layout/chevron1"/>
    <dgm:cxn modelId="{00FB50FB-4911-4A6C-9563-CC7336B83C7D}" type="presParOf" srcId="{E59A3AA1-4456-482F-A514-10BC3E030511}" destId="{9101A43E-9FA8-44D0-8B4B-B43A17F0B301}" srcOrd="6" destOrd="0" presId="urn:microsoft.com/office/officeart/2005/8/layout/chevron1"/>
    <dgm:cxn modelId="{979C30CE-2032-4839-83F3-46EE1A23367C}" type="presParOf" srcId="{E59A3AA1-4456-482F-A514-10BC3E030511}" destId="{C0DF1FFC-718C-41AA-B1B4-399BF34A0C85}" srcOrd="7" destOrd="0" presId="urn:microsoft.com/office/officeart/2005/8/layout/chevron1"/>
    <dgm:cxn modelId="{F16B0E29-A2FF-4639-BD9B-BA1E9D2BCFC2}" type="presParOf" srcId="{E59A3AA1-4456-482F-A514-10BC3E030511}" destId="{D79C9E3A-AD33-4FF1-AFAE-6CA861113F40}" srcOrd="8" destOrd="0" presId="urn:microsoft.com/office/officeart/2005/8/layout/chevron1"/>
    <dgm:cxn modelId="{8113C5A2-E898-4C6C-8AFE-56F81A9C135D}" type="presParOf" srcId="{E59A3AA1-4456-482F-A514-10BC3E030511}" destId="{DC91B037-C717-4289-AE40-B313064DA6EB}" srcOrd="9" destOrd="0" presId="urn:microsoft.com/office/officeart/2005/8/layout/chevron1"/>
    <dgm:cxn modelId="{D75EFDD0-F501-4F89-93B6-2FAD43D3948C}" type="presParOf" srcId="{E59A3AA1-4456-482F-A514-10BC3E030511}" destId="{48DB6C72-9476-46A8-A7B1-362834A04659}" srcOrd="10" destOrd="0" presId="urn:microsoft.com/office/officeart/2005/8/layout/chevron1"/>
    <dgm:cxn modelId="{81BC0119-50FC-4D35-AEED-DE2946062C50}" type="presParOf" srcId="{E59A3AA1-4456-482F-A514-10BC3E030511}" destId="{73C3018A-3BCF-4F84-94F0-C1E38A294445}" srcOrd="11" destOrd="0" presId="urn:microsoft.com/office/officeart/2005/8/layout/chevron1"/>
    <dgm:cxn modelId="{6928B908-2DA5-4F44-9572-B6509F482F61}" type="presParOf" srcId="{E59A3AA1-4456-482F-A514-10BC3E030511}" destId="{B1F183C7-4128-441B-9040-CEC245AAA671}" srcOrd="12" destOrd="0" presId="urn:microsoft.com/office/officeart/2005/8/layout/chevron1"/>
    <dgm:cxn modelId="{6AF2601F-396C-4D9D-8B93-7CE9D6C01295}" type="presParOf" srcId="{E59A3AA1-4456-482F-A514-10BC3E030511}" destId="{8B966912-F62C-4DB4-9741-03C78CA48121}" srcOrd="13" destOrd="0" presId="urn:microsoft.com/office/officeart/2005/8/layout/chevron1"/>
    <dgm:cxn modelId="{A6704C54-6426-4DAD-B67D-116D3F6F9564}" type="presParOf" srcId="{E59A3AA1-4456-482F-A514-10BC3E030511}" destId="{5F3D77F7-2117-4310-82D6-CC46973B96CE}" srcOrd="14" destOrd="0" presId="urn:microsoft.com/office/officeart/2005/8/layout/chevron1"/>
    <dgm:cxn modelId="{5A58E2CC-E172-4BDC-AD19-E1E1CB82AF5A}" type="presParOf" srcId="{E59A3AA1-4456-482F-A514-10BC3E030511}" destId="{F6A0359B-3FA6-4B4A-90B3-02DF2DDF0B4E}" srcOrd="15" destOrd="0" presId="urn:microsoft.com/office/officeart/2005/8/layout/chevron1"/>
    <dgm:cxn modelId="{CC9A694F-F2FF-40A0-AB97-7CBA3C93B44E}"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2E75B6"/>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43AB15F5-BE08-47C5-B402-36BC428471B5}" type="presOf" srcId="{7C140BA5-61A2-4C44-8F2C-83C38D316D75}" destId="{66CDB625-3567-480B-96DE-D9D9D01967F2}" srcOrd="0" destOrd="0" presId="urn:microsoft.com/office/officeart/2005/8/layout/chevron1"/>
    <dgm:cxn modelId="{946EDDF9-3D7E-4172-AF07-9AFEF010166E}" type="presOf" srcId="{152C0CFE-894B-4DCD-9C91-F961733C6C8A}" destId="{8A2BE7DB-4C89-4154-B8EA-CABB8FBA3A4D}"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B363DDF5-B0AC-41F4-B2F4-B96EC5DCD3D0}" type="presOf" srcId="{4F4BE03B-5823-4BC9-90E7-5574EACE09E5}" destId="{B1F183C7-4128-441B-9040-CEC245AAA671}" srcOrd="0" destOrd="0" presId="urn:microsoft.com/office/officeart/2005/8/layout/chevron1"/>
    <dgm:cxn modelId="{F9E8D485-CE5B-414C-9142-6A10E7E97DED}" type="presOf" srcId="{D37ECD37-5D27-4F00-BE43-EE2CBC34B805}" destId="{05E9B768-C4F6-4368-A29F-C29CFF7A9381}" srcOrd="0" destOrd="0" presId="urn:microsoft.com/office/officeart/2005/8/layout/chevron1"/>
    <dgm:cxn modelId="{C030CA8B-0C93-4421-AF68-A23A69B94870}" type="presOf" srcId="{85014035-4376-41F7-B98E-7A3EC9856736}" destId="{E59A3AA1-4456-482F-A514-10BC3E030511}" srcOrd="0" destOrd="0" presId="urn:microsoft.com/office/officeart/2005/8/layout/chevron1"/>
    <dgm:cxn modelId="{E01F265C-CAF2-4CC6-A194-081745BBB80E}" type="presOf" srcId="{291C0FC7-AB24-426F-95D5-FCAF7D733561}" destId="{5F3D77F7-2117-4310-82D6-CC46973B96CE}" srcOrd="0" destOrd="0" presId="urn:microsoft.com/office/officeart/2005/8/layout/chevron1"/>
    <dgm:cxn modelId="{FC067695-6EC3-4F69-B8EE-9DA8E896B778}" type="presOf" srcId="{D3E32C3F-8B1E-4470-AE4B-AF7542F719A6}" destId="{9101A43E-9FA8-44D0-8B4B-B43A17F0B30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460D534-709B-4E53-ADC8-7A3E731EA761}"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1F9ABC2D-32DB-42FE-BAFA-1DAD703BA0B1}" type="presOf" srcId="{626C66CD-664C-4CA9-9020-B8D6763AE2FD}" destId="{D79C9E3A-AD33-4FF1-AFAE-6CA861113F40}" srcOrd="0" destOrd="0" presId="urn:microsoft.com/office/officeart/2005/8/layout/chevron1"/>
    <dgm:cxn modelId="{FAD80FAB-D6DF-4C21-8F2E-D087A5820F86}" type="presOf" srcId="{B2D8824F-FCA3-40D3-ADF0-216360405402}" destId="{48DB6C72-9476-46A8-A7B1-362834A04659}"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082E4AC-567B-40B1-9DFC-93B2DCC1E3D8}" type="presParOf" srcId="{E59A3AA1-4456-482F-A514-10BC3E030511}" destId="{66CDB625-3567-480B-96DE-D9D9D01967F2}" srcOrd="0" destOrd="0" presId="urn:microsoft.com/office/officeart/2005/8/layout/chevron1"/>
    <dgm:cxn modelId="{F201A9BE-417A-4591-AFF3-F882787AAEF0}" type="presParOf" srcId="{E59A3AA1-4456-482F-A514-10BC3E030511}" destId="{E69D944D-B787-42EF-A817-E7A1749D8736}" srcOrd="1" destOrd="0" presId="urn:microsoft.com/office/officeart/2005/8/layout/chevron1"/>
    <dgm:cxn modelId="{C012F2C3-0FFE-4FCD-9BDD-C9B4E9BD4CCD}" type="presParOf" srcId="{E59A3AA1-4456-482F-A514-10BC3E030511}" destId="{4DB2B4C5-616C-405E-B54B-EC90D8032080}" srcOrd="2" destOrd="0" presId="urn:microsoft.com/office/officeart/2005/8/layout/chevron1"/>
    <dgm:cxn modelId="{18A1F3D8-8688-4C55-A4DF-5C730ED6F0CF}" type="presParOf" srcId="{E59A3AA1-4456-482F-A514-10BC3E030511}" destId="{7DA42B1B-26D5-4E6A-878A-49EBD2B2C1FF}" srcOrd="3" destOrd="0" presId="urn:microsoft.com/office/officeart/2005/8/layout/chevron1"/>
    <dgm:cxn modelId="{71066903-248C-4C63-83AE-B07C9D250F6C}" type="presParOf" srcId="{E59A3AA1-4456-482F-A514-10BC3E030511}" destId="{8A2BE7DB-4C89-4154-B8EA-CABB8FBA3A4D}" srcOrd="4" destOrd="0" presId="urn:microsoft.com/office/officeart/2005/8/layout/chevron1"/>
    <dgm:cxn modelId="{BBA71E52-6907-4F57-BAEA-36F793341029}" type="presParOf" srcId="{E59A3AA1-4456-482F-A514-10BC3E030511}" destId="{9FB0C3C1-B3A4-4406-AA3E-E68647A3DA67}" srcOrd="5" destOrd="0" presId="urn:microsoft.com/office/officeart/2005/8/layout/chevron1"/>
    <dgm:cxn modelId="{C8B0D22A-D431-4C0F-9AAE-5740E5865953}" type="presParOf" srcId="{E59A3AA1-4456-482F-A514-10BC3E030511}" destId="{9101A43E-9FA8-44D0-8B4B-B43A17F0B301}" srcOrd="6" destOrd="0" presId="urn:microsoft.com/office/officeart/2005/8/layout/chevron1"/>
    <dgm:cxn modelId="{6DA15F0C-6795-4173-A8BD-D38DA86AEC35}" type="presParOf" srcId="{E59A3AA1-4456-482F-A514-10BC3E030511}" destId="{C0DF1FFC-718C-41AA-B1B4-399BF34A0C85}" srcOrd="7" destOrd="0" presId="urn:microsoft.com/office/officeart/2005/8/layout/chevron1"/>
    <dgm:cxn modelId="{161E90D0-CE3D-4948-A929-FE02A2F55E69}" type="presParOf" srcId="{E59A3AA1-4456-482F-A514-10BC3E030511}" destId="{D79C9E3A-AD33-4FF1-AFAE-6CA861113F40}" srcOrd="8" destOrd="0" presId="urn:microsoft.com/office/officeart/2005/8/layout/chevron1"/>
    <dgm:cxn modelId="{71D9B5AD-9422-483B-BD55-0FC5B8E8B9DA}" type="presParOf" srcId="{E59A3AA1-4456-482F-A514-10BC3E030511}" destId="{DC91B037-C717-4289-AE40-B313064DA6EB}" srcOrd="9" destOrd="0" presId="urn:microsoft.com/office/officeart/2005/8/layout/chevron1"/>
    <dgm:cxn modelId="{CB6865DF-E24B-47FE-A972-9E5163503B43}" type="presParOf" srcId="{E59A3AA1-4456-482F-A514-10BC3E030511}" destId="{48DB6C72-9476-46A8-A7B1-362834A04659}" srcOrd="10" destOrd="0" presId="urn:microsoft.com/office/officeart/2005/8/layout/chevron1"/>
    <dgm:cxn modelId="{0566D0B9-4501-45ED-9C7A-8854E497CD8A}" type="presParOf" srcId="{E59A3AA1-4456-482F-A514-10BC3E030511}" destId="{73C3018A-3BCF-4F84-94F0-C1E38A294445}" srcOrd="11" destOrd="0" presId="urn:microsoft.com/office/officeart/2005/8/layout/chevron1"/>
    <dgm:cxn modelId="{22028343-500A-4331-962C-CB765ADAE9B6}" type="presParOf" srcId="{E59A3AA1-4456-482F-A514-10BC3E030511}" destId="{B1F183C7-4128-441B-9040-CEC245AAA671}" srcOrd="12" destOrd="0" presId="urn:microsoft.com/office/officeart/2005/8/layout/chevron1"/>
    <dgm:cxn modelId="{62B595FB-F0EF-4D65-BAF6-DB061FDAE8D5}" type="presParOf" srcId="{E59A3AA1-4456-482F-A514-10BC3E030511}" destId="{8B966912-F62C-4DB4-9741-03C78CA48121}" srcOrd="13" destOrd="0" presId="urn:microsoft.com/office/officeart/2005/8/layout/chevron1"/>
    <dgm:cxn modelId="{57E9D89F-6361-4484-8062-A4DF06D361FC}" type="presParOf" srcId="{E59A3AA1-4456-482F-A514-10BC3E030511}" destId="{5F3D77F7-2117-4310-82D6-CC46973B96CE}" srcOrd="14" destOrd="0" presId="urn:microsoft.com/office/officeart/2005/8/layout/chevron1"/>
    <dgm:cxn modelId="{9F613098-7299-4410-82AD-E0837C7079C7}" type="presParOf" srcId="{E59A3AA1-4456-482F-A514-10BC3E030511}" destId="{F6A0359B-3FA6-4B4A-90B3-02DF2DDF0B4E}" srcOrd="15" destOrd="0" presId="urn:microsoft.com/office/officeart/2005/8/layout/chevron1"/>
    <dgm:cxn modelId="{99B77D3B-89E4-46E1-85F0-01CE02469C60}"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BFBFBF"/>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gradFill rotWithShape="0">
          <a:gsLst>
            <a:gs pos="16000">
              <a:srgbClr val="2E75B6"/>
            </a:gs>
            <a:gs pos="37000">
              <a:srgbClr val="BFBFBF">
                <a:shade val="67500"/>
                <a:satMod val="115000"/>
              </a:srgbClr>
            </a:gs>
            <a:gs pos="100000">
              <a:srgbClr val="BFBFBF">
                <a:shade val="100000"/>
                <a:satMod val="115000"/>
              </a:srgbClr>
            </a:gs>
          </a:gsLst>
          <a:lin ang="0" scaled="1"/>
        </a:gra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58000">
              <a:srgbClr val="2E75B6"/>
            </a:gs>
            <a:gs pos="87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t>
        <a:bodyPr/>
        <a:lstStyle/>
        <a:p>
          <a:endParaRPr lang="en-US"/>
        </a:p>
      </dgm:t>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D973FF6D-BC2F-4A5B-BDA5-12958E0628EB}" type="presOf" srcId="{626C66CD-664C-4CA9-9020-B8D6763AE2FD}" destId="{D79C9E3A-AD33-4FF1-AFAE-6CA861113F40}"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800585C5-48A2-43BB-B43C-EC98513CD416}" type="presOf" srcId="{D3E32C3F-8B1E-4470-AE4B-AF7542F719A6}" destId="{9101A43E-9FA8-44D0-8B4B-B43A17F0B30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B3F4C17B-291F-47EC-B8A2-290FCD28B88F}" type="presOf" srcId="{B2D8824F-FCA3-40D3-ADF0-216360405402}" destId="{48DB6C72-9476-46A8-A7B1-362834A04659}"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A05B2C74-C654-431B-9E06-FE947BF3731C}" type="presOf" srcId="{D37ECD37-5D27-4F00-BE43-EE2CBC34B805}" destId="{05E9B768-C4F6-4368-A29F-C29CFF7A9381}" srcOrd="0" destOrd="0" presId="urn:microsoft.com/office/officeart/2005/8/layout/chevron1"/>
    <dgm:cxn modelId="{68807968-2BDA-43C4-A70C-501C6A45E910}" type="presOf" srcId="{85014035-4376-41F7-B98E-7A3EC9856736}" destId="{E59A3AA1-4456-482F-A514-10BC3E030511}" srcOrd="0" destOrd="0" presId="urn:microsoft.com/office/officeart/2005/8/layout/chevron1"/>
    <dgm:cxn modelId="{CE2CB1D3-D29C-4D1E-8275-0373DCDB7D78}" type="presOf" srcId="{A394F2A2-CD30-43D3-B564-20AF0C1BCDE0}" destId="{4DB2B4C5-616C-405E-B54B-EC90D8032080}" srcOrd="0" destOrd="0" presId="urn:microsoft.com/office/officeart/2005/8/layout/chevron1"/>
    <dgm:cxn modelId="{ACFC2378-ADED-490E-83E0-B4543E774CAF}" type="presOf" srcId="{4F4BE03B-5823-4BC9-90E7-5574EACE09E5}" destId="{B1F183C7-4128-441B-9040-CEC245AAA671}" srcOrd="0" destOrd="0" presId="urn:microsoft.com/office/officeart/2005/8/layout/chevron1"/>
    <dgm:cxn modelId="{092B6888-0DBE-4C97-82B9-0D72983512D2}" type="presOf" srcId="{152C0CFE-894B-4DCD-9C91-F961733C6C8A}" destId="{8A2BE7DB-4C89-4154-B8EA-CABB8FBA3A4D}"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ECF83704-F2C4-4E87-8584-3DF5C35123C6}" type="presOf" srcId="{7C140BA5-61A2-4C44-8F2C-83C38D316D75}" destId="{66CDB625-3567-480B-96DE-D9D9D01967F2}" srcOrd="0" destOrd="0" presId="urn:microsoft.com/office/officeart/2005/8/layout/chevron1"/>
    <dgm:cxn modelId="{8CDB0E58-8ADD-47AE-BC3D-923D3BD73451}" type="presOf" srcId="{291C0FC7-AB24-426F-95D5-FCAF7D733561}" destId="{5F3D77F7-2117-4310-82D6-CC46973B96CE}"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CBD46717-042A-4713-BA60-54FA48418614}" type="presParOf" srcId="{E59A3AA1-4456-482F-A514-10BC3E030511}" destId="{66CDB625-3567-480B-96DE-D9D9D01967F2}" srcOrd="0" destOrd="0" presId="urn:microsoft.com/office/officeart/2005/8/layout/chevron1"/>
    <dgm:cxn modelId="{7CA5CF36-F548-4EC2-9CF0-EC71B62CB44A}" type="presParOf" srcId="{E59A3AA1-4456-482F-A514-10BC3E030511}" destId="{E69D944D-B787-42EF-A817-E7A1749D8736}" srcOrd="1" destOrd="0" presId="urn:microsoft.com/office/officeart/2005/8/layout/chevron1"/>
    <dgm:cxn modelId="{B9EBF07D-789D-44F0-B844-07F6EF785DC4}" type="presParOf" srcId="{E59A3AA1-4456-482F-A514-10BC3E030511}" destId="{4DB2B4C5-616C-405E-B54B-EC90D8032080}" srcOrd="2" destOrd="0" presId="urn:microsoft.com/office/officeart/2005/8/layout/chevron1"/>
    <dgm:cxn modelId="{3AA2CA60-6C57-4101-B433-CB85F8E6FDD3}" type="presParOf" srcId="{E59A3AA1-4456-482F-A514-10BC3E030511}" destId="{7DA42B1B-26D5-4E6A-878A-49EBD2B2C1FF}" srcOrd="3" destOrd="0" presId="urn:microsoft.com/office/officeart/2005/8/layout/chevron1"/>
    <dgm:cxn modelId="{D25C9083-7C9A-4D42-B956-0E3E4DFC0762}" type="presParOf" srcId="{E59A3AA1-4456-482F-A514-10BC3E030511}" destId="{8A2BE7DB-4C89-4154-B8EA-CABB8FBA3A4D}" srcOrd="4" destOrd="0" presId="urn:microsoft.com/office/officeart/2005/8/layout/chevron1"/>
    <dgm:cxn modelId="{759A6B4B-36D3-4618-AB3E-23929CC18372}" type="presParOf" srcId="{E59A3AA1-4456-482F-A514-10BC3E030511}" destId="{9FB0C3C1-B3A4-4406-AA3E-E68647A3DA67}" srcOrd="5" destOrd="0" presId="urn:microsoft.com/office/officeart/2005/8/layout/chevron1"/>
    <dgm:cxn modelId="{BBC30A58-69C7-49F1-93CF-1122341ED9CE}" type="presParOf" srcId="{E59A3AA1-4456-482F-A514-10BC3E030511}" destId="{9101A43E-9FA8-44D0-8B4B-B43A17F0B301}" srcOrd="6" destOrd="0" presId="urn:microsoft.com/office/officeart/2005/8/layout/chevron1"/>
    <dgm:cxn modelId="{C63470D7-8B52-4F29-B5DE-FE7AD62861E7}" type="presParOf" srcId="{E59A3AA1-4456-482F-A514-10BC3E030511}" destId="{C0DF1FFC-718C-41AA-B1B4-399BF34A0C85}" srcOrd="7" destOrd="0" presId="urn:microsoft.com/office/officeart/2005/8/layout/chevron1"/>
    <dgm:cxn modelId="{7A92B3A3-411B-4BE1-8AC8-557B8CEB2499}" type="presParOf" srcId="{E59A3AA1-4456-482F-A514-10BC3E030511}" destId="{D79C9E3A-AD33-4FF1-AFAE-6CA861113F40}" srcOrd="8" destOrd="0" presId="urn:microsoft.com/office/officeart/2005/8/layout/chevron1"/>
    <dgm:cxn modelId="{2F436C18-0D24-4DF3-AF42-B2CBFF38CB7E}" type="presParOf" srcId="{E59A3AA1-4456-482F-A514-10BC3E030511}" destId="{DC91B037-C717-4289-AE40-B313064DA6EB}" srcOrd="9" destOrd="0" presId="urn:microsoft.com/office/officeart/2005/8/layout/chevron1"/>
    <dgm:cxn modelId="{73BD6A95-8B0B-4EA7-96C2-9E771C74C4D3}" type="presParOf" srcId="{E59A3AA1-4456-482F-A514-10BC3E030511}" destId="{48DB6C72-9476-46A8-A7B1-362834A04659}" srcOrd="10" destOrd="0" presId="urn:microsoft.com/office/officeart/2005/8/layout/chevron1"/>
    <dgm:cxn modelId="{9A0F165D-FD34-4653-8EBD-F473E2F4362C}" type="presParOf" srcId="{E59A3AA1-4456-482F-A514-10BC3E030511}" destId="{73C3018A-3BCF-4F84-94F0-C1E38A294445}" srcOrd="11" destOrd="0" presId="urn:microsoft.com/office/officeart/2005/8/layout/chevron1"/>
    <dgm:cxn modelId="{4E849130-34EA-410D-B6D7-DD98AC3CF3D2}" type="presParOf" srcId="{E59A3AA1-4456-482F-A514-10BC3E030511}" destId="{B1F183C7-4128-441B-9040-CEC245AAA671}" srcOrd="12" destOrd="0" presId="urn:microsoft.com/office/officeart/2005/8/layout/chevron1"/>
    <dgm:cxn modelId="{ED6EA58E-90A9-421C-91EF-AF20D5B9AE32}" type="presParOf" srcId="{E59A3AA1-4456-482F-A514-10BC3E030511}" destId="{8B966912-F62C-4DB4-9741-03C78CA48121}" srcOrd="13" destOrd="0" presId="urn:microsoft.com/office/officeart/2005/8/layout/chevron1"/>
    <dgm:cxn modelId="{BB1EA423-887F-4FA8-B265-EB82E12732BC}" type="presParOf" srcId="{E59A3AA1-4456-482F-A514-10BC3E030511}" destId="{5F3D77F7-2117-4310-82D6-CC46973B96CE}" srcOrd="14" destOrd="0" presId="urn:microsoft.com/office/officeart/2005/8/layout/chevron1"/>
    <dgm:cxn modelId="{347ADA3A-293F-4474-AECC-05706677B7E6}" type="presParOf" srcId="{E59A3AA1-4456-482F-A514-10BC3E030511}" destId="{F6A0359B-3FA6-4B4A-90B3-02DF2DDF0B4E}" srcOrd="15" destOrd="0" presId="urn:microsoft.com/office/officeart/2005/8/layout/chevron1"/>
    <dgm:cxn modelId="{20D7F185-2F77-4564-93D3-230B48887D9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gradFill rotWithShape="0">
          <a:gsLst>
            <a:gs pos="0">
              <a:srgbClr val="2E75B6"/>
            </a:gs>
            <a:gs pos="64000">
              <a:srgbClr val="BFBFBF">
                <a:shade val="67500"/>
                <a:satMod val="115000"/>
              </a:srgbClr>
            </a:gs>
            <a:gs pos="100000">
              <a:srgbClr val="BFBFBF">
                <a:shade val="100000"/>
                <a:satMod val="115000"/>
              </a:srgbClr>
            </a:gs>
          </a:gsLst>
          <a:lin ang="0" scaled="1"/>
        </a:gradFill>
      </dgm:spPr>
      <dgm:t>
        <a:bodyPr/>
        <a:lstStyle/>
        <a:p>
          <a:r>
            <a:rPr lang="en-GB" sz="1300" dirty="0">
              <a:solidFill>
                <a:schemeClr val="bg1"/>
              </a:solidFill>
            </a:rPr>
            <a:t>Design</a:t>
          </a: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a:solidFill>
                <a:schemeClr val="bg1"/>
              </a:solidFill>
            </a:rPr>
            <a:t>Validate</a:t>
          </a: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a:solidFill>
                <a:schemeClr val="bg1"/>
              </a:solidFill>
            </a:rPr>
            <a:t>Transition</a:t>
          </a: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a:solidFill>
                <a:schemeClr val="accent2"/>
              </a:solidFill>
            </a:rPr>
            <a:t>Go Live</a:t>
          </a: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a:solidFill>
                <a:schemeClr val="bg1"/>
              </a:solidFill>
            </a:rPr>
            <a:t>Realization</a:t>
          </a: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a:solidFill>
                <a:schemeClr val="bg1"/>
              </a:solidFill>
            </a:rPr>
            <a:t>Stabilization</a:t>
          </a: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a:solidFill>
                <a:schemeClr val="bg1"/>
              </a:solidFill>
            </a:rPr>
            <a:t>Configure</a:t>
          </a: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747550EC-1602-441D-A416-164B602D685B}" type="presOf" srcId="{B2D8824F-FCA3-40D3-ADF0-216360405402}" destId="{48DB6C72-9476-46A8-A7B1-362834A04659}" srcOrd="0" destOrd="0" presId="urn:microsoft.com/office/officeart/2005/8/layout/chevron1"/>
    <dgm:cxn modelId="{1986D9BB-F5B9-4C90-851B-E05735EA2AAB}" type="presOf" srcId="{152C0CFE-894B-4DCD-9C91-F961733C6C8A}" destId="{8A2BE7DB-4C89-4154-B8EA-CABB8FBA3A4D}"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1C88A05D-700C-4230-A463-1A5225F16943}" type="presOf" srcId="{D3E32C3F-8B1E-4470-AE4B-AF7542F719A6}" destId="{9101A43E-9FA8-44D0-8B4B-B43A17F0B301}" srcOrd="0" destOrd="0" presId="urn:microsoft.com/office/officeart/2005/8/layout/chevron1"/>
    <dgm:cxn modelId="{2FE19D0C-9DB3-4ABF-ABAE-71F242CE9AC8}" type="presOf" srcId="{4F4BE03B-5823-4BC9-90E7-5574EACE09E5}" destId="{B1F183C7-4128-441B-9040-CEC245AAA671}" srcOrd="0" destOrd="0" presId="urn:microsoft.com/office/officeart/2005/8/layout/chevron1"/>
    <dgm:cxn modelId="{88870FC6-A1BC-4E21-B5BD-C55DC951929A}" type="presOf" srcId="{7C140BA5-61A2-4C44-8F2C-83C38D316D75}" destId="{66CDB625-3567-480B-96DE-D9D9D01967F2}" srcOrd="0" destOrd="0" presId="urn:microsoft.com/office/officeart/2005/8/layout/chevron1"/>
    <dgm:cxn modelId="{ECD79F6F-5A80-4ED3-A25D-6AD26CFF14FF}" type="presOf" srcId="{85014035-4376-41F7-B98E-7A3EC9856736}" destId="{E59A3AA1-4456-482F-A514-10BC3E03051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2FC9FB83-0113-4192-ADC6-63E82CCD86A4}" type="presOf" srcId="{291C0FC7-AB24-426F-95D5-FCAF7D733561}" destId="{5F3D77F7-2117-4310-82D6-CC46973B96CE}" srcOrd="0" destOrd="0" presId="urn:microsoft.com/office/officeart/2005/8/layout/chevron1"/>
    <dgm:cxn modelId="{F67E57F0-42E2-4BE3-AFCD-E8531C9A4F7C}"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75676D29-A108-4BDD-B1BB-3B58853CD824}"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49C8C5AB-39E0-4104-959A-C484FF2685D1}" type="presOf" srcId="{626C66CD-664C-4CA9-9020-B8D6763AE2FD}" destId="{D79C9E3A-AD33-4FF1-AFAE-6CA861113F40}"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BCC9295-F855-42CD-9127-3F47262B1343}" type="presParOf" srcId="{E59A3AA1-4456-482F-A514-10BC3E030511}" destId="{66CDB625-3567-480B-96DE-D9D9D01967F2}" srcOrd="0" destOrd="0" presId="urn:microsoft.com/office/officeart/2005/8/layout/chevron1"/>
    <dgm:cxn modelId="{B30490F1-3DC5-4FB5-BB43-E0EEF90F04FB}" type="presParOf" srcId="{E59A3AA1-4456-482F-A514-10BC3E030511}" destId="{E69D944D-B787-42EF-A817-E7A1749D8736}" srcOrd="1" destOrd="0" presId="urn:microsoft.com/office/officeart/2005/8/layout/chevron1"/>
    <dgm:cxn modelId="{97FF8BEB-F575-44B1-9ACB-21323DA9DA43}" type="presParOf" srcId="{E59A3AA1-4456-482F-A514-10BC3E030511}" destId="{4DB2B4C5-616C-405E-B54B-EC90D8032080}" srcOrd="2" destOrd="0" presId="urn:microsoft.com/office/officeart/2005/8/layout/chevron1"/>
    <dgm:cxn modelId="{0A9747B6-19EA-41DD-8AAD-CC510680267A}" type="presParOf" srcId="{E59A3AA1-4456-482F-A514-10BC3E030511}" destId="{7DA42B1B-26D5-4E6A-878A-49EBD2B2C1FF}" srcOrd="3" destOrd="0" presId="urn:microsoft.com/office/officeart/2005/8/layout/chevron1"/>
    <dgm:cxn modelId="{18113ACF-82A3-4C37-9D77-62C224A7CBC7}" type="presParOf" srcId="{E59A3AA1-4456-482F-A514-10BC3E030511}" destId="{8A2BE7DB-4C89-4154-B8EA-CABB8FBA3A4D}" srcOrd="4" destOrd="0" presId="urn:microsoft.com/office/officeart/2005/8/layout/chevron1"/>
    <dgm:cxn modelId="{97A4EC69-E5C2-4A46-9E9D-EDA5E6E6C259}" type="presParOf" srcId="{E59A3AA1-4456-482F-A514-10BC3E030511}" destId="{9FB0C3C1-B3A4-4406-AA3E-E68647A3DA67}" srcOrd="5" destOrd="0" presId="urn:microsoft.com/office/officeart/2005/8/layout/chevron1"/>
    <dgm:cxn modelId="{3D5C0BB2-56D1-4C95-B789-994B65A976F1}" type="presParOf" srcId="{E59A3AA1-4456-482F-A514-10BC3E030511}" destId="{9101A43E-9FA8-44D0-8B4B-B43A17F0B301}" srcOrd="6" destOrd="0" presId="urn:microsoft.com/office/officeart/2005/8/layout/chevron1"/>
    <dgm:cxn modelId="{9F6676C5-7F27-47C5-B5BA-EF8111C7EB2E}" type="presParOf" srcId="{E59A3AA1-4456-482F-A514-10BC3E030511}" destId="{C0DF1FFC-718C-41AA-B1B4-399BF34A0C85}" srcOrd="7" destOrd="0" presId="urn:microsoft.com/office/officeart/2005/8/layout/chevron1"/>
    <dgm:cxn modelId="{D2199184-95B8-4A0C-B577-A1128EEB22A2}" type="presParOf" srcId="{E59A3AA1-4456-482F-A514-10BC3E030511}" destId="{D79C9E3A-AD33-4FF1-AFAE-6CA861113F40}" srcOrd="8" destOrd="0" presId="urn:microsoft.com/office/officeart/2005/8/layout/chevron1"/>
    <dgm:cxn modelId="{1AEA12C9-B272-464A-BDDB-2BA78B94BD43}" type="presParOf" srcId="{E59A3AA1-4456-482F-A514-10BC3E030511}" destId="{DC91B037-C717-4289-AE40-B313064DA6EB}" srcOrd="9" destOrd="0" presId="urn:microsoft.com/office/officeart/2005/8/layout/chevron1"/>
    <dgm:cxn modelId="{EC24E71B-EE8F-4CFE-8D6E-110CF8A9A8CF}" type="presParOf" srcId="{E59A3AA1-4456-482F-A514-10BC3E030511}" destId="{48DB6C72-9476-46A8-A7B1-362834A04659}" srcOrd="10" destOrd="0" presId="urn:microsoft.com/office/officeart/2005/8/layout/chevron1"/>
    <dgm:cxn modelId="{FB8D6DC5-DEDF-4144-BDC7-94FC91032D5F}" type="presParOf" srcId="{E59A3AA1-4456-482F-A514-10BC3E030511}" destId="{73C3018A-3BCF-4F84-94F0-C1E38A294445}" srcOrd="11" destOrd="0" presId="urn:microsoft.com/office/officeart/2005/8/layout/chevron1"/>
    <dgm:cxn modelId="{D4627003-360F-4920-9FD6-B14532F70EE1}" type="presParOf" srcId="{E59A3AA1-4456-482F-A514-10BC3E030511}" destId="{B1F183C7-4128-441B-9040-CEC245AAA671}" srcOrd="12" destOrd="0" presId="urn:microsoft.com/office/officeart/2005/8/layout/chevron1"/>
    <dgm:cxn modelId="{89DD0FF6-D0D2-46FD-BA87-27BA238589A6}" type="presParOf" srcId="{E59A3AA1-4456-482F-A514-10BC3E030511}" destId="{8B966912-F62C-4DB4-9741-03C78CA48121}" srcOrd="13" destOrd="0" presId="urn:microsoft.com/office/officeart/2005/8/layout/chevron1"/>
    <dgm:cxn modelId="{E1F5A91D-B08B-4CF6-96CC-BD50F97BBCED}" type="presParOf" srcId="{E59A3AA1-4456-482F-A514-10BC3E030511}" destId="{5F3D77F7-2117-4310-82D6-CC46973B96CE}" srcOrd="14" destOrd="0" presId="urn:microsoft.com/office/officeart/2005/8/layout/chevron1"/>
    <dgm:cxn modelId="{F2717FE3-3A0D-4267-889A-C3D582B87BA0}" type="presParOf" srcId="{E59A3AA1-4456-482F-A514-10BC3E030511}" destId="{F6A0359B-3FA6-4B4A-90B3-02DF2DDF0B4E}" srcOrd="15" destOrd="0" presId="urn:microsoft.com/office/officeart/2005/8/layout/chevron1"/>
    <dgm:cxn modelId="{2D08102C-8DB3-45A8-B394-4DC681DAC3B2}"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gradFill rotWithShape="0">
          <a:gsLst>
            <a:gs pos="0">
              <a:srgbClr val="2E75B6"/>
            </a:gs>
            <a:gs pos="64000">
              <a:srgbClr val="BFBFBF">
                <a:shade val="67500"/>
                <a:satMod val="115000"/>
              </a:srgbClr>
            </a:gs>
            <a:gs pos="100000">
              <a:srgbClr val="BFBFBF">
                <a:shade val="100000"/>
                <a:satMod val="115000"/>
              </a:srgbClr>
            </a:gs>
          </a:gsLst>
          <a:lin ang="0" scaled="1"/>
        </a:gradFill>
      </dgm:spPr>
      <dgm:t>
        <a:bodyPr/>
        <a:lstStyle/>
        <a:p>
          <a:r>
            <a:rPr lang="en-GB" sz="1300" dirty="0">
              <a:solidFill>
                <a:schemeClr val="bg1"/>
              </a:solidFill>
            </a:rPr>
            <a:t>Design</a:t>
          </a: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a:solidFill>
                <a:schemeClr val="bg1"/>
              </a:solidFill>
            </a:rPr>
            <a:t>Validate</a:t>
          </a: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a:solidFill>
                <a:schemeClr val="bg1"/>
              </a:solidFill>
            </a:rPr>
            <a:t>Transition</a:t>
          </a: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a:solidFill>
                <a:schemeClr val="accent2"/>
              </a:solidFill>
            </a:rPr>
            <a:t>Go Live</a:t>
          </a: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a:solidFill>
                <a:schemeClr val="bg1"/>
              </a:solidFill>
            </a:rPr>
            <a:t>Realization</a:t>
          </a: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a:solidFill>
                <a:schemeClr val="bg1"/>
              </a:solidFill>
            </a:rPr>
            <a:t>Stabilization</a:t>
          </a: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BFBFBF"/>
        </a:solidFill>
      </dgm:spPr>
      <dgm:t>
        <a:bodyPr/>
        <a:lstStyle/>
        <a:p>
          <a:r>
            <a:rPr lang="en-GB" sz="1300" dirty="0">
              <a:solidFill>
                <a:schemeClr val="bg1"/>
              </a:solidFill>
            </a:rPr>
            <a:t>Configure</a:t>
          </a: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747550EC-1602-441D-A416-164B602D685B}" type="presOf" srcId="{B2D8824F-FCA3-40D3-ADF0-216360405402}" destId="{48DB6C72-9476-46A8-A7B1-362834A04659}" srcOrd="0" destOrd="0" presId="urn:microsoft.com/office/officeart/2005/8/layout/chevron1"/>
    <dgm:cxn modelId="{1986D9BB-F5B9-4C90-851B-E05735EA2AAB}" type="presOf" srcId="{152C0CFE-894B-4DCD-9C91-F961733C6C8A}" destId="{8A2BE7DB-4C89-4154-B8EA-CABB8FBA3A4D}"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1C88A05D-700C-4230-A463-1A5225F16943}" type="presOf" srcId="{D3E32C3F-8B1E-4470-AE4B-AF7542F719A6}" destId="{9101A43E-9FA8-44D0-8B4B-B43A17F0B301}" srcOrd="0" destOrd="0" presId="urn:microsoft.com/office/officeart/2005/8/layout/chevron1"/>
    <dgm:cxn modelId="{2FE19D0C-9DB3-4ABF-ABAE-71F242CE9AC8}" type="presOf" srcId="{4F4BE03B-5823-4BC9-90E7-5574EACE09E5}" destId="{B1F183C7-4128-441B-9040-CEC245AAA671}" srcOrd="0" destOrd="0" presId="urn:microsoft.com/office/officeart/2005/8/layout/chevron1"/>
    <dgm:cxn modelId="{88870FC6-A1BC-4E21-B5BD-C55DC951929A}" type="presOf" srcId="{7C140BA5-61A2-4C44-8F2C-83C38D316D75}" destId="{66CDB625-3567-480B-96DE-D9D9D01967F2}" srcOrd="0" destOrd="0" presId="urn:microsoft.com/office/officeart/2005/8/layout/chevron1"/>
    <dgm:cxn modelId="{ECD79F6F-5A80-4ED3-A25D-6AD26CFF14FF}" type="presOf" srcId="{85014035-4376-41F7-B98E-7A3EC9856736}" destId="{E59A3AA1-4456-482F-A514-10BC3E03051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2FC9FB83-0113-4192-ADC6-63E82CCD86A4}" type="presOf" srcId="{291C0FC7-AB24-426F-95D5-FCAF7D733561}" destId="{5F3D77F7-2117-4310-82D6-CC46973B96CE}" srcOrd="0" destOrd="0" presId="urn:microsoft.com/office/officeart/2005/8/layout/chevron1"/>
    <dgm:cxn modelId="{F67E57F0-42E2-4BE3-AFCD-E8531C9A4F7C}"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75676D29-A108-4BDD-B1BB-3B58853CD824}"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49C8C5AB-39E0-4104-959A-C484FF2685D1}" type="presOf" srcId="{626C66CD-664C-4CA9-9020-B8D6763AE2FD}" destId="{D79C9E3A-AD33-4FF1-AFAE-6CA861113F40}"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BCC9295-F855-42CD-9127-3F47262B1343}" type="presParOf" srcId="{E59A3AA1-4456-482F-A514-10BC3E030511}" destId="{66CDB625-3567-480B-96DE-D9D9D01967F2}" srcOrd="0" destOrd="0" presId="urn:microsoft.com/office/officeart/2005/8/layout/chevron1"/>
    <dgm:cxn modelId="{B30490F1-3DC5-4FB5-BB43-E0EEF90F04FB}" type="presParOf" srcId="{E59A3AA1-4456-482F-A514-10BC3E030511}" destId="{E69D944D-B787-42EF-A817-E7A1749D8736}" srcOrd="1" destOrd="0" presId="urn:microsoft.com/office/officeart/2005/8/layout/chevron1"/>
    <dgm:cxn modelId="{97FF8BEB-F575-44B1-9ACB-21323DA9DA43}" type="presParOf" srcId="{E59A3AA1-4456-482F-A514-10BC3E030511}" destId="{4DB2B4C5-616C-405E-B54B-EC90D8032080}" srcOrd="2" destOrd="0" presId="urn:microsoft.com/office/officeart/2005/8/layout/chevron1"/>
    <dgm:cxn modelId="{0A9747B6-19EA-41DD-8AAD-CC510680267A}" type="presParOf" srcId="{E59A3AA1-4456-482F-A514-10BC3E030511}" destId="{7DA42B1B-26D5-4E6A-878A-49EBD2B2C1FF}" srcOrd="3" destOrd="0" presId="urn:microsoft.com/office/officeart/2005/8/layout/chevron1"/>
    <dgm:cxn modelId="{18113ACF-82A3-4C37-9D77-62C224A7CBC7}" type="presParOf" srcId="{E59A3AA1-4456-482F-A514-10BC3E030511}" destId="{8A2BE7DB-4C89-4154-B8EA-CABB8FBA3A4D}" srcOrd="4" destOrd="0" presId="urn:microsoft.com/office/officeart/2005/8/layout/chevron1"/>
    <dgm:cxn modelId="{97A4EC69-E5C2-4A46-9E9D-EDA5E6E6C259}" type="presParOf" srcId="{E59A3AA1-4456-482F-A514-10BC3E030511}" destId="{9FB0C3C1-B3A4-4406-AA3E-E68647A3DA67}" srcOrd="5" destOrd="0" presId="urn:microsoft.com/office/officeart/2005/8/layout/chevron1"/>
    <dgm:cxn modelId="{3D5C0BB2-56D1-4C95-B789-994B65A976F1}" type="presParOf" srcId="{E59A3AA1-4456-482F-A514-10BC3E030511}" destId="{9101A43E-9FA8-44D0-8B4B-B43A17F0B301}" srcOrd="6" destOrd="0" presId="urn:microsoft.com/office/officeart/2005/8/layout/chevron1"/>
    <dgm:cxn modelId="{9F6676C5-7F27-47C5-B5BA-EF8111C7EB2E}" type="presParOf" srcId="{E59A3AA1-4456-482F-A514-10BC3E030511}" destId="{C0DF1FFC-718C-41AA-B1B4-399BF34A0C85}" srcOrd="7" destOrd="0" presId="urn:microsoft.com/office/officeart/2005/8/layout/chevron1"/>
    <dgm:cxn modelId="{D2199184-95B8-4A0C-B577-A1128EEB22A2}" type="presParOf" srcId="{E59A3AA1-4456-482F-A514-10BC3E030511}" destId="{D79C9E3A-AD33-4FF1-AFAE-6CA861113F40}" srcOrd="8" destOrd="0" presId="urn:microsoft.com/office/officeart/2005/8/layout/chevron1"/>
    <dgm:cxn modelId="{1AEA12C9-B272-464A-BDDB-2BA78B94BD43}" type="presParOf" srcId="{E59A3AA1-4456-482F-A514-10BC3E030511}" destId="{DC91B037-C717-4289-AE40-B313064DA6EB}" srcOrd="9" destOrd="0" presId="urn:microsoft.com/office/officeart/2005/8/layout/chevron1"/>
    <dgm:cxn modelId="{EC24E71B-EE8F-4CFE-8D6E-110CF8A9A8CF}" type="presParOf" srcId="{E59A3AA1-4456-482F-A514-10BC3E030511}" destId="{48DB6C72-9476-46A8-A7B1-362834A04659}" srcOrd="10" destOrd="0" presId="urn:microsoft.com/office/officeart/2005/8/layout/chevron1"/>
    <dgm:cxn modelId="{FB8D6DC5-DEDF-4144-BDC7-94FC91032D5F}" type="presParOf" srcId="{E59A3AA1-4456-482F-A514-10BC3E030511}" destId="{73C3018A-3BCF-4F84-94F0-C1E38A294445}" srcOrd="11" destOrd="0" presId="urn:microsoft.com/office/officeart/2005/8/layout/chevron1"/>
    <dgm:cxn modelId="{D4627003-360F-4920-9FD6-B14532F70EE1}" type="presParOf" srcId="{E59A3AA1-4456-482F-A514-10BC3E030511}" destId="{B1F183C7-4128-441B-9040-CEC245AAA671}" srcOrd="12" destOrd="0" presId="urn:microsoft.com/office/officeart/2005/8/layout/chevron1"/>
    <dgm:cxn modelId="{89DD0FF6-D0D2-46FD-BA87-27BA238589A6}" type="presParOf" srcId="{E59A3AA1-4456-482F-A514-10BC3E030511}" destId="{8B966912-F62C-4DB4-9741-03C78CA48121}" srcOrd="13" destOrd="0" presId="urn:microsoft.com/office/officeart/2005/8/layout/chevron1"/>
    <dgm:cxn modelId="{E1F5A91D-B08B-4CF6-96CC-BD50F97BBCED}" type="presParOf" srcId="{E59A3AA1-4456-482F-A514-10BC3E030511}" destId="{5F3D77F7-2117-4310-82D6-CC46973B96CE}" srcOrd="14" destOrd="0" presId="urn:microsoft.com/office/officeart/2005/8/layout/chevron1"/>
    <dgm:cxn modelId="{F2717FE3-3A0D-4267-889A-C3D582B87BA0}" type="presParOf" srcId="{E59A3AA1-4456-482F-A514-10BC3E030511}" destId="{F6A0359B-3FA6-4B4A-90B3-02DF2DDF0B4E}" srcOrd="15" destOrd="0" presId="urn:microsoft.com/office/officeart/2005/8/layout/chevron1"/>
    <dgm:cxn modelId="{2D08102C-8DB3-45A8-B394-4DC681DAC3B2}"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2E75B6"/>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gradFill rotWithShape="0">
          <a:gsLst>
            <a:gs pos="7000">
              <a:srgbClr val="2E75B6"/>
            </a:gs>
            <a:gs pos="33000">
              <a:srgbClr val="BFBFBF">
                <a:shade val="67500"/>
                <a:satMod val="115000"/>
              </a:srgbClr>
            </a:gs>
            <a:gs pos="100000">
              <a:srgbClr val="BFBFBF">
                <a:shade val="100000"/>
                <a:satMod val="115000"/>
              </a:srgbClr>
            </a:gs>
          </a:gsLst>
          <a:lin ang="0" scaled="1"/>
        </a:gra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55000">
              <a:srgbClr val="2E75B6"/>
            </a:gs>
            <a:gs pos="91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44C78F56-527E-4148-BE0D-11D58B6BC466}" type="presOf" srcId="{D3E32C3F-8B1E-4470-AE4B-AF7542F719A6}" destId="{9101A43E-9FA8-44D0-8B4B-B43A17F0B301}" srcOrd="0" destOrd="0" presId="urn:microsoft.com/office/officeart/2005/8/layout/chevron1"/>
    <dgm:cxn modelId="{2A5A6898-EB82-4676-94FB-111FDAA43F2F}" type="presOf" srcId="{85014035-4376-41F7-B98E-7A3EC9856736}" destId="{E59A3AA1-4456-482F-A514-10BC3E03051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96715DD9-52F5-4D80-AB82-2B09A138BB41}" type="presOf" srcId="{7C140BA5-61A2-4C44-8F2C-83C38D316D75}" destId="{66CDB625-3567-480B-96DE-D9D9D01967F2}" srcOrd="0" destOrd="0" presId="urn:microsoft.com/office/officeart/2005/8/layout/chevron1"/>
    <dgm:cxn modelId="{F6B39612-D4D1-4312-AF84-61A537362E19}" type="presOf" srcId="{291C0FC7-AB24-426F-95D5-FCAF7D733561}" destId="{5F3D77F7-2117-4310-82D6-CC46973B96CE}" srcOrd="0" destOrd="0" presId="urn:microsoft.com/office/officeart/2005/8/layout/chevron1"/>
    <dgm:cxn modelId="{0C5CDD3D-4882-490A-A38D-644283BA8B3F}" type="presOf" srcId="{152C0CFE-894B-4DCD-9C91-F961733C6C8A}" destId="{8A2BE7DB-4C89-4154-B8EA-CABB8FBA3A4D}" srcOrd="0" destOrd="0" presId="urn:microsoft.com/office/officeart/2005/8/layout/chevron1"/>
    <dgm:cxn modelId="{5E4A58B3-4E9A-46C5-9970-3699BD6888D2}" type="presOf" srcId="{626C66CD-664C-4CA9-9020-B8D6763AE2FD}" destId="{D79C9E3A-AD33-4FF1-AFAE-6CA861113F40}" srcOrd="0" destOrd="0" presId="urn:microsoft.com/office/officeart/2005/8/layout/chevron1"/>
    <dgm:cxn modelId="{3ED4B3F5-AD05-4C6D-BF43-E7B47F78261A}" type="presOf" srcId="{A394F2A2-CD30-43D3-B564-20AF0C1BCDE0}" destId="{4DB2B4C5-616C-405E-B54B-EC90D8032080}" srcOrd="0" destOrd="0" presId="urn:microsoft.com/office/officeart/2005/8/layout/chevron1"/>
    <dgm:cxn modelId="{7AEAEBBF-16A8-4871-9B77-13A44157E54D}"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10341275-FDFC-41EF-AE28-F08A43AF4276}" type="presOf" srcId="{B2D8824F-FCA3-40D3-ADF0-216360405402}" destId="{48DB6C72-9476-46A8-A7B1-362834A04659}"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0E8E64D6-2AF2-40E9-98DE-2BDE808251EC}" type="presOf" srcId="{4F4BE03B-5823-4BC9-90E7-5574EACE09E5}" destId="{B1F183C7-4128-441B-9040-CEC245AAA671}" srcOrd="0" destOrd="0" presId="urn:microsoft.com/office/officeart/2005/8/layout/chevron1"/>
    <dgm:cxn modelId="{33E1349F-97D9-4DB0-8B48-BA8207F593C1}" type="presParOf" srcId="{E59A3AA1-4456-482F-A514-10BC3E030511}" destId="{66CDB625-3567-480B-96DE-D9D9D01967F2}" srcOrd="0" destOrd="0" presId="urn:microsoft.com/office/officeart/2005/8/layout/chevron1"/>
    <dgm:cxn modelId="{C8D33210-98ED-4D41-ADA9-3EF26B8AAC65}" type="presParOf" srcId="{E59A3AA1-4456-482F-A514-10BC3E030511}" destId="{E69D944D-B787-42EF-A817-E7A1749D8736}" srcOrd="1" destOrd="0" presId="urn:microsoft.com/office/officeart/2005/8/layout/chevron1"/>
    <dgm:cxn modelId="{BE307928-C115-4BB9-8CD8-9E7D5159DDB9}" type="presParOf" srcId="{E59A3AA1-4456-482F-A514-10BC3E030511}" destId="{4DB2B4C5-616C-405E-B54B-EC90D8032080}" srcOrd="2" destOrd="0" presId="urn:microsoft.com/office/officeart/2005/8/layout/chevron1"/>
    <dgm:cxn modelId="{FEE4682E-E8D5-46D7-B216-7A81DBCABD74}" type="presParOf" srcId="{E59A3AA1-4456-482F-A514-10BC3E030511}" destId="{7DA42B1B-26D5-4E6A-878A-49EBD2B2C1FF}" srcOrd="3" destOrd="0" presId="urn:microsoft.com/office/officeart/2005/8/layout/chevron1"/>
    <dgm:cxn modelId="{83E17D8C-BC90-47DD-8DD5-F233ABE6236B}" type="presParOf" srcId="{E59A3AA1-4456-482F-A514-10BC3E030511}" destId="{8A2BE7DB-4C89-4154-B8EA-CABB8FBA3A4D}" srcOrd="4" destOrd="0" presId="urn:microsoft.com/office/officeart/2005/8/layout/chevron1"/>
    <dgm:cxn modelId="{5C0FCC67-163C-49F3-A309-5EAC739A0450}" type="presParOf" srcId="{E59A3AA1-4456-482F-A514-10BC3E030511}" destId="{9FB0C3C1-B3A4-4406-AA3E-E68647A3DA67}" srcOrd="5" destOrd="0" presId="urn:microsoft.com/office/officeart/2005/8/layout/chevron1"/>
    <dgm:cxn modelId="{2581A0D9-2143-4BA9-9D16-69FBEE8D3D92}" type="presParOf" srcId="{E59A3AA1-4456-482F-A514-10BC3E030511}" destId="{9101A43E-9FA8-44D0-8B4B-B43A17F0B301}" srcOrd="6" destOrd="0" presId="urn:microsoft.com/office/officeart/2005/8/layout/chevron1"/>
    <dgm:cxn modelId="{8CEC7040-5468-431D-8D28-9631C5FE8F1E}" type="presParOf" srcId="{E59A3AA1-4456-482F-A514-10BC3E030511}" destId="{C0DF1FFC-718C-41AA-B1B4-399BF34A0C85}" srcOrd="7" destOrd="0" presId="urn:microsoft.com/office/officeart/2005/8/layout/chevron1"/>
    <dgm:cxn modelId="{563D64E8-25F9-40E2-8B5F-2750ADD0B40A}" type="presParOf" srcId="{E59A3AA1-4456-482F-A514-10BC3E030511}" destId="{D79C9E3A-AD33-4FF1-AFAE-6CA861113F40}" srcOrd="8" destOrd="0" presId="urn:microsoft.com/office/officeart/2005/8/layout/chevron1"/>
    <dgm:cxn modelId="{554D4808-2559-4BD2-9511-3ED77E0A5305}" type="presParOf" srcId="{E59A3AA1-4456-482F-A514-10BC3E030511}" destId="{DC91B037-C717-4289-AE40-B313064DA6EB}" srcOrd="9" destOrd="0" presId="urn:microsoft.com/office/officeart/2005/8/layout/chevron1"/>
    <dgm:cxn modelId="{D2517DB9-438A-448D-BAF4-8ED99C72E4BB}" type="presParOf" srcId="{E59A3AA1-4456-482F-A514-10BC3E030511}" destId="{48DB6C72-9476-46A8-A7B1-362834A04659}" srcOrd="10" destOrd="0" presId="urn:microsoft.com/office/officeart/2005/8/layout/chevron1"/>
    <dgm:cxn modelId="{BD246ECB-7299-44EE-806D-FB6ECCB3DDDA}" type="presParOf" srcId="{E59A3AA1-4456-482F-A514-10BC3E030511}" destId="{73C3018A-3BCF-4F84-94F0-C1E38A294445}" srcOrd="11" destOrd="0" presId="urn:microsoft.com/office/officeart/2005/8/layout/chevron1"/>
    <dgm:cxn modelId="{CE861CC1-EC26-4AFB-AC22-EC03F2DF364B}" type="presParOf" srcId="{E59A3AA1-4456-482F-A514-10BC3E030511}" destId="{B1F183C7-4128-441B-9040-CEC245AAA671}" srcOrd="12" destOrd="0" presId="urn:microsoft.com/office/officeart/2005/8/layout/chevron1"/>
    <dgm:cxn modelId="{91E7877E-560C-4208-A9F1-612E8D1E12C8}" type="presParOf" srcId="{E59A3AA1-4456-482F-A514-10BC3E030511}" destId="{8B966912-F62C-4DB4-9741-03C78CA48121}" srcOrd="13" destOrd="0" presId="urn:microsoft.com/office/officeart/2005/8/layout/chevron1"/>
    <dgm:cxn modelId="{2E54B8E9-288F-4348-8D46-3F7B4130D2DA}" type="presParOf" srcId="{E59A3AA1-4456-482F-A514-10BC3E030511}" destId="{5F3D77F7-2117-4310-82D6-CC46973B96CE}" srcOrd="14" destOrd="0" presId="urn:microsoft.com/office/officeart/2005/8/layout/chevron1"/>
    <dgm:cxn modelId="{A679B974-6114-4F75-8BA4-BE079C009ADB}" type="presParOf" srcId="{E59A3AA1-4456-482F-A514-10BC3E030511}" destId="{F6A0359B-3FA6-4B4A-90B3-02DF2DDF0B4E}" srcOrd="15" destOrd="0" presId="urn:microsoft.com/office/officeart/2005/8/layout/chevron1"/>
    <dgm:cxn modelId="{628D7848-F248-48B1-A96C-0E8252102A65}"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2E75B6"/>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chemeClr val="bg1">
            <a:lumMod val="75000"/>
          </a:schemeClr>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chemeClr val="bg1">
            <a:lumMod val="50000"/>
            <a:alpha val="49804"/>
          </a:schemeClr>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A186BFBC-D487-4F52-A431-B99AE3AA398E}" type="presOf" srcId="{152C0CFE-894B-4DCD-9C91-F961733C6C8A}" destId="{8A2BE7DB-4C89-4154-B8EA-CABB8FBA3A4D}"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C5D9C979-7252-4DB0-909F-7E37E0F69024}" type="presOf" srcId="{7C140BA5-61A2-4C44-8F2C-83C38D316D75}" destId="{66CDB625-3567-480B-96DE-D9D9D01967F2}"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4C23D44D-6BF8-4523-B344-438D8AA157D1}" type="presOf" srcId="{A394F2A2-CD30-43D3-B564-20AF0C1BCDE0}" destId="{4DB2B4C5-616C-405E-B54B-EC90D8032080}" srcOrd="0" destOrd="0" presId="urn:microsoft.com/office/officeart/2005/8/layout/chevron1"/>
    <dgm:cxn modelId="{CABA4415-22B3-49BE-95D7-3C85EC2241FC}" type="presOf" srcId="{291C0FC7-AB24-426F-95D5-FCAF7D733561}" destId="{5F3D77F7-2117-4310-82D6-CC46973B96CE}" srcOrd="0" destOrd="0" presId="urn:microsoft.com/office/officeart/2005/8/layout/chevron1"/>
    <dgm:cxn modelId="{AEDC69A6-3E9F-4CEF-9498-677371CC71EF}" type="presOf" srcId="{85014035-4376-41F7-B98E-7A3EC9856736}" destId="{E59A3AA1-4456-482F-A514-10BC3E03051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1A4F2B23-A634-4176-AB6B-A6A47407AD37}" type="presOf" srcId="{D37ECD37-5D27-4F00-BE43-EE2CBC34B805}" destId="{05E9B768-C4F6-4368-A29F-C29CFF7A9381}" srcOrd="0" destOrd="0" presId="urn:microsoft.com/office/officeart/2005/8/layout/chevron1"/>
    <dgm:cxn modelId="{E7C5DDB8-D0D6-41B4-8BAD-75808CA0A58A}" type="presOf" srcId="{D3E32C3F-8B1E-4470-AE4B-AF7542F719A6}" destId="{9101A43E-9FA8-44D0-8B4B-B43A17F0B301}" srcOrd="0" destOrd="0" presId="urn:microsoft.com/office/officeart/2005/8/layout/chevron1"/>
    <dgm:cxn modelId="{6B1C279B-E140-491E-88D9-F4D43BDF3041}" type="presOf" srcId="{4F4BE03B-5823-4BC9-90E7-5574EACE09E5}" destId="{B1F183C7-4128-441B-9040-CEC245AAA67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9199F6FF-C80A-4F44-B651-747047F54EBA}" type="presOf" srcId="{B2D8824F-FCA3-40D3-ADF0-216360405402}" destId="{48DB6C72-9476-46A8-A7B1-362834A04659}" srcOrd="0" destOrd="0" presId="urn:microsoft.com/office/officeart/2005/8/layout/chevron1"/>
    <dgm:cxn modelId="{1FD80198-6720-415E-9EB6-22F8A24EE5EC}" type="presOf" srcId="{626C66CD-664C-4CA9-9020-B8D6763AE2FD}" destId="{D79C9E3A-AD33-4FF1-AFAE-6CA861113F4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EBEE5137-4AAC-43FB-B593-B0DCB6FD7B65}" srcId="{85014035-4376-41F7-B98E-7A3EC9856736}" destId="{D3E32C3F-8B1E-4470-AE4B-AF7542F719A6}" srcOrd="3" destOrd="0" parTransId="{5A5E73D8-D06A-4ADC-A276-A2D3B27F2355}" sibTransId="{A6641514-4AB7-44FE-9E9F-F50761438592}"/>
    <dgm:cxn modelId="{45EEEA8C-A3F9-4E07-91B5-CC226F108ACA}" type="presParOf" srcId="{E59A3AA1-4456-482F-A514-10BC3E030511}" destId="{66CDB625-3567-480B-96DE-D9D9D01967F2}" srcOrd="0" destOrd="0" presId="urn:microsoft.com/office/officeart/2005/8/layout/chevron1"/>
    <dgm:cxn modelId="{F51B8F9B-2EE6-473A-869A-B5BE8B82DA12}" type="presParOf" srcId="{E59A3AA1-4456-482F-A514-10BC3E030511}" destId="{E69D944D-B787-42EF-A817-E7A1749D8736}" srcOrd="1" destOrd="0" presId="urn:microsoft.com/office/officeart/2005/8/layout/chevron1"/>
    <dgm:cxn modelId="{252CBE0F-FF7C-42B0-B141-4994B3FF6C51}" type="presParOf" srcId="{E59A3AA1-4456-482F-A514-10BC3E030511}" destId="{4DB2B4C5-616C-405E-B54B-EC90D8032080}" srcOrd="2" destOrd="0" presId="urn:microsoft.com/office/officeart/2005/8/layout/chevron1"/>
    <dgm:cxn modelId="{671998DA-69CC-4DB4-9AA8-5CDD1AE7FE51}" type="presParOf" srcId="{E59A3AA1-4456-482F-A514-10BC3E030511}" destId="{7DA42B1B-26D5-4E6A-878A-49EBD2B2C1FF}" srcOrd="3" destOrd="0" presId="urn:microsoft.com/office/officeart/2005/8/layout/chevron1"/>
    <dgm:cxn modelId="{357F1EC3-B128-4E62-98D9-10374583A81E}" type="presParOf" srcId="{E59A3AA1-4456-482F-A514-10BC3E030511}" destId="{8A2BE7DB-4C89-4154-B8EA-CABB8FBA3A4D}" srcOrd="4" destOrd="0" presId="urn:microsoft.com/office/officeart/2005/8/layout/chevron1"/>
    <dgm:cxn modelId="{55127EA5-76FB-4B6C-B6D7-7E1C811DCE92}" type="presParOf" srcId="{E59A3AA1-4456-482F-A514-10BC3E030511}" destId="{9FB0C3C1-B3A4-4406-AA3E-E68647A3DA67}" srcOrd="5" destOrd="0" presId="urn:microsoft.com/office/officeart/2005/8/layout/chevron1"/>
    <dgm:cxn modelId="{A8B098FF-0353-4C97-B323-797E3F0105D0}" type="presParOf" srcId="{E59A3AA1-4456-482F-A514-10BC3E030511}" destId="{9101A43E-9FA8-44D0-8B4B-B43A17F0B301}" srcOrd="6" destOrd="0" presId="urn:microsoft.com/office/officeart/2005/8/layout/chevron1"/>
    <dgm:cxn modelId="{C0F4696D-4891-4A96-93BD-A864D59D1B18}" type="presParOf" srcId="{E59A3AA1-4456-482F-A514-10BC3E030511}" destId="{C0DF1FFC-718C-41AA-B1B4-399BF34A0C85}" srcOrd="7" destOrd="0" presId="urn:microsoft.com/office/officeart/2005/8/layout/chevron1"/>
    <dgm:cxn modelId="{B9710510-3F61-498B-ABDB-967A4CEDDEC4}" type="presParOf" srcId="{E59A3AA1-4456-482F-A514-10BC3E030511}" destId="{D79C9E3A-AD33-4FF1-AFAE-6CA861113F40}" srcOrd="8" destOrd="0" presId="urn:microsoft.com/office/officeart/2005/8/layout/chevron1"/>
    <dgm:cxn modelId="{EA09FACF-2938-46AD-A9B7-241CEB9D63A5}" type="presParOf" srcId="{E59A3AA1-4456-482F-A514-10BC3E030511}" destId="{DC91B037-C717-4289-AE40-B313064DA6EB}" srcOrd="9" destOrd="0" presId="urn:microsoft.com/office/officeart/2005/8/layout/chevron1"/>
    <dgm:cxn modelId="{5EECDD39-543F-40B6-B4BE-EBEF7CF845E4}" type="presParOf" srcId="{E59A3AA1-4456-482F-A514-10BC3E030511}" destId="{48DB6C72-9476-46A8-A7B1-362834A04659}" srcOrd="10" destOrd="0" presId="urn:microsoft.com/office/officeart/2005/8/layout/chevron1"/>
    <dgm:cxn modelId="{529D972E-C192-4F89-BB4F-7A9C2A19EB9A}" type="presParOf" srcId="{E59A3AA1-4456-482F-A514-10BC3E030511}" destId="{73C3018A-3BCF-4F84-94F0-C1E38A294445}" srcOrd="11" destOrd="0" presId="urn:microsoft.com/office/officeart/2005/8/layout/chevron1"/>
    <dgm:cxn modelId="{1643DA08-1B9A-4199-A919-701D8979E60B}" type="presParOf" srcId="{E59A3AA1-4456-482F-A514-10BC3E030511}" destId="{B1F183C7-4128-441B-9040-CEC245AAA671}" srcOrd="12" destOrd="0" presId="urn:microsoft.com/office/officeart/2005/8/layout/chevron1"/>
    <dgm:cxn modelId="{4C2C7F7D-1DC9-4957-AD7A-8DE23D0C1195}" type="presParOf" srcId="{E59A3AA1-4456-482F-A514-10BC3E030511}" destId="{8B966912-F62C-4DB4-9741-03C78CA48121}" srcOrd="13" destOrd="0" presId="urn:microsoft.com/office/officeart/2005/8/layout/chevron1"/>
    <dgm:cxn modelId="{21A1CA05-508F-48CC-BF11-058F7AC89F2C}" type="presParOf" srcId="{E59A3AA1-4456-482F-A514-10BC3E030511}" destId="{5F3D77F7-2117-4310-82D6-CC46973B96CE}" srcOrd="14" destOrd="0" presId="urn:microsoft.com/office/officeart/2005/8/layout/chevron1"/>
    <dgm:cxn modelId="{ADF8CA7C-6C28-4B23-BDD1-33E8CF5FCD12}" type="presParOf" srcId="{E59A3AA1-4456-482F-A514-10BC3E030511}" destId="{F6A0359B-3FA6-4B4A-90B3-02DF2DDF0B4E}" srcOrd="15" destOrd="0" presId="urn:microsoft.com/office/officeart/2005/8/layout/chevron1"/>
    <dgm:cxn modelId="{999403BE-E4AE-4868-A377-6E965160EAF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2E75B6"/>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chemeClr val="bg1">
            <a:lumMod val="50000"/>
            <a:alpha val="49804"/>
          </a:schemeClr>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F066787A-304C-45AB-9B3E-9C7AA86963A7}" srcId="{85014035-4376-41F7-B98E-7A3EC9856736}" destId="{4F4BE03B-5823-4BC9-90E7-5574EACE09E5}" srcOrd="6" destOrd="0" parTransId="{57101327-A90A-4314-9C57-9B0F6D4A44BE}" sibTransId="{19B64806-4E4D-46C7-B2F2-1A035F149F3D}"/>
    <dgm:cxn modelId="{45135A69-B566-4EB2-8AE4-0FD2B8703F4E}" type="presOf" srcId="{85014035-4376-41F7-B98E-7A3EC9856736}" destId="{E59A3AA1-4456-482F-A514-10BC3E030511}" srcOrd="0" destOrd="0" presId="urn:microsoft.com/office/officeart/2005/8/layout/chevron1"/>
    <dgm:cxn modelId="{2A19233A-0252-4AD4-BBB0-D34FBC13E6B8}" type="presOf" srcId="{7C140BA5-61A2-4C44-8F2C-83C38D316D75}" destId="{66CDB625-3567-480B-96DE-D9D9D01967F2}"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D701A95B-F365-429E-92BB-2B79246ACC99}" type="presOf" srcId="{D37ECD37-5D27-4F00-BE43-EE2CBC34B805}" destId="{05E9B768-C4F6-4368-A29F-C29CFF7A9381}" srcOrd="0" destOrd="0" presId="urn:microsoft.com/office/officeart/2005/8/layout/chevron1"/>
    <dgm:cxn modelId="{7230AB02-3772-4701-BFD3-A438490576A5}" type="presOf" srcId="{291C0FC7-AB24-426F-95D5-FCAF7D733561}" destId="{5F3D77F7-2117-4310-82D6-CC46973B96CE}" srcOrd="0" destOrd="0" presId="urn:microsoft.com/office/officeart/2005/8/layout/chevron1"/>
    <dgm:cxn modelId="{177C5B3C-9A28-4215-BF94-B9B73133CEAC}" type="presOf" srcId="{A394F2A2-CD30-43D3-B564-20AF0C1BCDE0}" destId="{4DB2B4C5-616C-405E-B54B-EC90D8032080}" srcOrd="0" destOrd="0" presId="urn:microsoft.com/office/officeart/2005/8/layout/chevron1"/>
    <dgm:cxn modelId="{99AB35F3-939F-49A9-8D11-A02EE38E6D8C}" type="presOf" srcId="{D3E32C3F-8B1E-4470-AE4B-AF7542F719A6}" destId="{9101A43E-9FA8-44D0-8B4B-B43A17F0B301}" srcOrd="0" destOrd="0" presId="urn:microsoft.com/office/officeart/2005/8/layout/chevron1"/>
    <dgm:cxn modelId="{BC6C63B4-EFBC-4A7D-9E02-D87107359BB5}" type="presOf" srcId="{626C66CD-664C-4CA9-9020-B8D6763AE2FD}" destId="{D79C9E3A-AD33-4FF1-AFAE-6CA861113F40}"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83B96343-C9C6-434C-9EF5-8FF01D579249}" type="presOf" srcId="{4F4BE03B-5823-4BC9-90E7-5574EACE09E5}" destId="{B1F183C7-4128-441B-9040-CEC245AAA67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38282C45-9EA3-4044-BCDC-C5F030F4673A}" type="presOf" srcId="{152C0CFE-894B-4DCD-9C91-F961733C6C8A}" destId="{8A2BE7DB-4C89-4154-B8EA-CABB8FBA3A4D}" srcOrd="0" destOrd="0" presId="urn:microsoft.com/office/officeart/2005/8/layout/chevron1"/>
    <dgm:cxn modelId="{169FAF8E-9990-4BA7-943D-8CE660BCCCA3}" type="presOf" srcId="{B2D8824F-FCA3-40D3-ADF0-216360405402}" destId="{48DB6C72-9476-46A8-A7B1-362834A04659}"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EEDC41EC-4CA9-423B-9734-EF9C64F8B256}" type="presParOf" srcId="{E59A3AA1-4456-482F-A514-10BC3E030511}" destId="{66CDB625-3567-480B-96DE-D9D9D01967F2}" srcOrd="0" destOrd="0" presId="urn:microsoft.com/office/officeart/2005/8/layout/chevron1"/>
    <dgm:cxn modelId="{F5ADAE3C-9D7E-4FCA-8502-64E64A1113C9}" type="presParOf" srcId="{E59A3AA1-4456-482F-A514-10BC3E030511}" destId="{E69D944D-B787-42EF-A817-E7A1749D8736}" srcOrd="1" destOrd="0" presId="urn:microsoft.com/office/officeart/2005/8/layout/chevron1"/>
    <dgm:cxn modelId="{4E85298B-831F-4901-8A6D-94B304DBC2A7}" type="presParOf" srcId="{E59A3AA1-4456-482F-A514-10BC3E030511}" destId="{4DB2B4C5-616C-405E-B54B-EC90D8032080}" srcOrd="2" destOrd="0" presId="urn:microsoft.com/office/officeart/2005/8/layout/chevron1"/>
    <dgm:cxn modelId="{07105123-6EBA-4696-BA2F-0D51F32855B5}" type="presParOf" srcId="{E59A3AA1-4456-482F-A514-10BC3E030511}" destId="{7DA42B1B-26D5-4E6A-878A-49EBD2B2C1FF}" srcOrd="3" destOrd="0" presId="urn:microsoft.com/office/officeart/2005/8/layout/chevron1"/>
    <dgm:cxn modelId="{A3E0EA10-1D50-4DA6-B154-64BC71FF8C2E}" type="presParOf" srcId="{E59A3AA1-4456-482F-A514-10BC3E030511}" destId="{8A2BE7DB-4C89-4154-B8EA-CABB8FBA3A4D}" srcOrd="4" destOrd="0" presId="urn:microsoft.com/office/officeart/2005/8/layout/chevron1"/>
    <dgm:cxn modelId="{2FA0F33D-692E-4FB6-9817-36081E8AFF58}" type="presParOf" srcId="{E59A3AA1-4456-482F-A514-10BC3E030511}" destId="{9FB0C3C1-B3A4-4406-AA3E-E68647A3DA67}" srcOrd="5" destOrd="0" presId="urn:microsoft.com/office/officeart/2005/8/layout/chevron1"/>
    <dgm:cxn modelId="{BFD9B933-B8E2-40D0-8A22-F90B0538D042}" type="presParOf" srcId="{E59A3AA1-4456-482F-A514-10BC3E030511}" destId="{9101A43E-9FA8-44D0-8B4B-B43A17F0B301}" srcOrd="6" destOrd="0" presId="urn:microsoft.com/office/officeart/2005/8/layout/chevron1"/>
    <dgm:cxn modelId="{6D678BF6-A850-4C5A-9B4D-6FFDBB76A42C}" type="presParOf" srcId="{E59A3AA1-4456-482F-A514-10BC3E030511}" destId="{C0DF1FFC-718C-41AA-B1B4-399BF34A0C85}" srcOrd="7" destOrd="0" presId="urn:microsoft.com/office/officeart/2005/8/layout/chevron1"/>
    <dgm:cxn modelId="{1F926D8D-0821-4AFB-96FC-A4FBDF79B3ED}" type="presParOf" srcId="{E59A3AA1-4456-482F-A514-10BC3E030511}" destId="{D79C9E3A-AD33-4FF1-AFAE-6CA861113F40}" srcOrd="8" destOrd="0" presId="urn:microsoft.com/office/officeart/2005/8/layout/chevron1"/>
    <dgm:cxn modelId="{B83834BB-D774-4BB8-B88B-26720E870A6C}" type="presParOf" srcId="{E59A3AA1-4456-482F-A514-10BC3E030511}" destId="{DC91B037-C717-4289-AE40-B313064DA6EB}" srcOrd="9" destOrd="0" presId="urn:microsoft.com/office/officeart/2005/8/layout/chevron1"/>
    <dgm:cxn modelId="{076F930C-BE20-45DC-8E5E-F5875BF98263}" type="presParOf" srcId="{E59A3AA1-4456-482F-A514-10BC3E030511}" destId="{48DB6C72-9476-46A8-A7B1-362834A04659}" srcOrd="10" destOrd="0" presId="urn:microsoft.com/office/officeart/2005/8/layout/chevron1"/>
    <dgm:cxn modelId="{02D3BC57-807A-4626-9AF2-E56F5798C3B6}" type="presParOf" srcId="{E59A3AA1-4456-482F-A514-10BC3E030511}" destId="{73C3018A-3BCF-4F84-94F0-C1E38A294445}" srcOrd="11" destOrd="0" presId="urn:microsoft.com/office/officeart/2005/8/layout/chevron1"/>
    <dgm:cxn modelId="{1D09E523-2F08-41CF-B5C1-4BC5DE520E4F}" type="presParOf" srcId="{E59A3AA1-4456-482F-A514-10BC3E030511}" destId="{B1F183C7-4128-441B-9040-CEC245AAA671}" srcOrd="12" destOrd="0" presId="urn:microsoft.com/office/officeart/2005/8/layout/chevron1"/>
    <dgm:cxn modelId="{BA3737BE-F3FA-4B87-8D76-575E0BA0A2B2}" type="presParOf" srcId="{E59A3AA1-4456-482F-A514-10BC3E030511}" destId="{8B966912-F62C-4DB4-9741-03C78CA48121}" srcOrd="13" destOrd="0" presId="urn:microsoft.com/office/officeart/2005/8/layout/chevron1"/>
    <dgm:cxn modelId="{15BACA34-BA74-41A4-B8B1-A0BD5EB2FF11}" type="presParOf" srcId="{E59A3AA1-4456-482F-A514-10BC3E030511}" destId="{5F3D77F7-2117-4310-82D6-CC46973B96CE}" srcOrd="14" destOrd="0" presId="urn:microsoft.com/office/officeart/2005/8/layout/chevron1"/>
    <dgm:cxn modelId="{73C037BE-2712-4C26-BCC9-393A5DFBC808}" type="presParOf" srcId="{E59A3AA1-4456-482F-A514-10BC3E030511}" destId="{F6A0359B-3FA6-4B4A-90B3-02DF2DDF0B4E}" srcOrd="15" destOrd="0" presId="urn:microsoft.com/office/officeart/2005/8/layout/chevron1"/>
    <dgm:cxn modelId="{A21D9D44-2DEA-460F-B4FF-E94798476B3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chemeClr val="bg1">
            <a:lumMod val="50000"/>
            <a:alpha val="49804"/>
          </a:schemeClr>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5103370-EEBD-498F-96FF-0784BF6AF670}" type="presOf" srcId="{7C140BA5-61A2-4C44-8F2C-83C38D316D75}" destId="{66CDB625-3567-480B-96DE-D9D9D01967F2}"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5D5EFE9E-AE1D-43D4-94F7-69EC778908C6}" srcId="{85014035-4376-41F7-B98E-7A3EC9856736}" destId="{D37ECD37-5D27-4F00-BE43-EE2CBC34B805}" srcOrd="8" destOrd="0" parTransId="{8C247E1F-B775-42D2-8047-C1EC7BD6A5A2}" sibTransId="{4839513B-2C98-4187-8C8C-5B155C922DD3}"/>
    <dgm:cxn modelId="{EDA2CDD0-A7E2-4ABF-A8D5-73FBDE810226}" srcId="{85014035-4376-41F7-B98E-7A3EC9856736}" destId="{A394F2A2-CD30-43D3-B564-20AF0C1BCDE0}" srcOrd="1" destOrd="0" parTransId="{16D8ED17-1A99-4BF0-A32E-AA5F0F0258C0}" sibTransId="{997060CD-BA39-4C3E-89BA-BE814DB0413A}"/>
    <dgm:cxn modelId="{41D9E418-E3E0-424A-BF33-9059A48A6B3F}" srcId="{85014035-4376-41F7-B98E-7A3EC9856736}" destId="{626C66CD-664C-4CA9-9020-B8D6763AE2FD}" srcOrd="4" destOrd="0" parTransId="{F3EF0168-EB64-49AD-A5B4-271B13C93812}" sibTransId="{DBF977C8-5E0E-4980-BF6A-C155149577D8}"/>
    <dgm:cxn modelId="{7D878FA8-AC8C-4E38-91C9-0E198679AB91}" type="presOf" srcId="{291C0FC7-AB24-426F-95D5-FCAF7D733561}" destId="{5F3D77F7-2117-4310-82D6-CC46973B96CE}" srcOrd="0" destOrd="0" presId="urn:microsoft.com/office/officeart/2005/8/layout/chevron1"/>
    <dgm:cxn modelId="{1F625BA7-6CA7-4D79-AC51-7E8A0747591C}" srcId="{85014035-4376-41F7-B98E-7A3EC9856736}" destId="{7C140BA5-61A2-4C44-8F2C-83C38D316D75}" srcOrd="0" destOrd="0" parTransId="{4EE0527B-6153-42D3-936E-E34B9CCE2E5B}" sibTransId="{A177E4EC-37A7-4086-B9CE-1C22AFC73885}"/>
    <dgm:cxn modelId="{55889CC0-11F7-4EEF-8486-E4EA1E167D58}" type="presOf" srcId="{626C66CD-664C-4CA9-9020-B8D6763AE2FD}" destId="{D79C9E3A-AD33-4FF1-AFAE-6CA861113F40}" srcOrd="0" destOrd="0" presId="urn:microsoft.com/office/officeart/2005/8/layout/chevron1"/>
    <dgm:cxn modelId="{B7CDF107-45BD-4FA5-A22C-4E33122950E9}"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913DACF1-E0FB-46A7-9F7F-8D4279633409}" srcId="{85014035-4376-41F7-B98E-7A3EC9856736}" destId="{152C0CFE-894B-4DCD-9C91-F961733C6C8A}" srcOrd="2" destOrd="0" parTransId="{1F637CD6-718F-42E8-BF1F-09380C90001C}" sibTransId="{DBF94304-B246-4969-8A3A-684D85AC9738}"/>
    <dgm:cxn modelId="{B2A5F333-AC40-4438-8828-687BFE9A9B43}"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A44E3755-EC30-48B4-BF35-B4F1BBDA564B}" type="presOf" srcId="{152C0CFE-894B-4DCD-9C91-F961733C6C8A}" destId="{8A2BE7DB-4C89-4154-B8EA-CABB8FBA3A4D}" srcOrd="0" destOrd="0" presId="urn:microsoft.com/office/officeart/2005/8/layout/chevron1"/>
    <dgm:cxn modelId="{5D963378-36AC-4DE5-9E85-4B0E28BAC396}" type="presOf" srcId="{D3E32C3F-8B1E-4470-AE4B-AF7542F719A6}" destId="{9101A43E-9FA8-44D0-8B4B-B43A17F0B301}" srcOrd="0" destOrd="0" presId="urn:microsoft.com/office/officeart/2005/8/layout/chevron1"/>
    <dgm:cxn modelId="{1CB02D84-60AA-4D3A-BDF9-E96B30CCF168}" type="presOf" srcId="{B2D8824F-FCA3-40D3-ADF0-216360405402}" destId="{48DB6C72-9476-46A8-A7B1-362834A04659}" srcOrd="0" destOrd="0" presId="urn:microsoft.com/office/officeart/2005/8/layout/chevron1"/>
    <dgm:cxn modelId="{037F17C4-54AC-4C18-8589-45813925FC53}" type="presOf" srcId="{85014035-4376-41F7-B98E-7A3EC9856736}" destId="{E59A3AA1-4456-482F-A514-10BC3E030511}"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212CFA33-BC7E-4BE1-8750-377343E6D87D}" type="presOf" srcId="{4F4BE03B-5823-4BC9-90E7-5574EACE09E5}" destId="{B1F183C7-4128-441B-9040-CEC245AAA671}" srcOrd="0" destOrd="0" presId="urn:microsoft.com/office/officeart/2005/8/layout/chevron1"/>
    <dgm:cxn modelId="{66ED2119-F74A-4818-AF60-6E0488BAFEBD}" type="presParOf" srcId="{E59A3AA1-4456-482F-A514-10BC3E030511}" destId="{66CDB625-3567-480B-96DE-D9D9D01967F2}" srcOrd="0" destOrd="0" presId="urn:microsoft.com/office/officeart/2005/8/layout/chevron1"/>
    <dgm:cxn modelId="{A4388089-B59A-47DF-B841-A2082FE3919E}" type="presParOf" srcId="{E59A3AA1-4456-482F-A514-10BC3E030511}" destId="{E69D944D-B787-42EF-A817-E7A1749D8736}" srcOrd="1" destOrd="0" presId="urn:microsoft.com/office/officeart/2005/8/layout/chevron1"/>
    <dgm:cxn modelId="{300F7748-5E10-4693-ADEA-02596426647A}" type="presParOf" srcId="{E59A3AA1-4456-482F-A514-10BC3E030511}" destId="{4DB2B4C5-616C-405E-B54B-EC90D8032080}" srcOrd="2" destOrd="0" presId="urn:microsoft.com/office/officeart/2005/8/layout/chevron1"/>
    <dgm:cxn modelId="{949DCE89-FD71-46AF-B89B-73C3754531DE}" type="presParOf" srcId="{E59A3AA1-4456-482F-A514-10BC3E030511}" destId="{7DA42B1B-26D5-4E6A-878A-49EBD2B2C1FF}" srcOrd="3" destOrd="0" presId="urn:microsoft.com/office/officeart/2005/8/layout/chevron1"/>
    <dgm:cxn modelId="{26417D72-A7D9-47B8-B38B-6739E26455B5}" type="presParOf" srcId="{E59A3AA1-4456-482F-A514-10BC3E030511}" destId="{8A2BE7DB-4C89-4154-B8EA-CABB8FBA3A4D}" srcOrd="4" destOrd="0" presId="urn:microsoft.com/office/officeart/2005/8/layout/chevron1"/>
    <dgm:cxn modelId="{0C4B6527-BD84-4FE4-91AD-E77050CB9FAB}" type="presParOf" srcId="{E59A3AA1-4456-482F-A514-10BC3E030511}" destId="{9FB0C3C1-B3A4-4406-AA3E-E68647A3DA67}" srcOrd="5" destOrd="0" presId="urn:microsoft.com/office/officeart/2005/8/layout/chevron1"/>
    <dgm:cxn modelId="{E0BCFD4E-E8F6-46EF-ABF1-C80F98F75D92}" type="presParOf" srcId="{E59A3AA1-4456-482F-A514-10BC3E030511}" destId="{9101A43E-9FA8-44D0-8B4B-B43A17F0B301}" srcOrd="6" destOrd="0" presId="urn:microsoft.com/office/officeart/2005/8/layout/chevron1"/>
    <dgm:cxn modelId="{1087247E-04B8-4662-8D13-B36B96A2FE13}" type="presParOf" srcId="{E59A3AA1-4456-482F-A514-10BC3E030511}" destId="{C0DF1FFC-718C-41AA-B1B4-399BF34A0C85}" srcOrd="7" destOrd="0" presId="urn:microsoft.com/office/officeart/2005/8/layout/chevron1"/>
    <dgm:cxn modelId="{AAE1DDFC-D674-4E1F-8D28-470BB3C6D55D}" type="presParOf" srcId="{E59A3AA1-4456-482F-A514-10BC3E030511}" destId="{D79C9E3A-AD33-4FF1-AFAE-6CA861113F40}" srcOrd="8" destOrd="0" presId="urn:microsoft.com/office/officeart/2005/8/layout/chevron1"/>
    <dgm:cxn modelId="{A454928B-0A06-453E-9F0F-2E35757B5AEB}" type="presParOf" srcId="{E59A3AA1-4456-482F-A514-10BC3E030511}" destId="{DC91B037-C717-4289-AE40-B313064DA6EB}" srcOrd="9" destOrd="0" presId="urn:microsoft.com/office/officeart/2005/8/layout/chevron1"/>
    <dgm:cxn modelId="{CB467703-E862-422B-ABC4-D3D17192E390}" type="presParOf" srcId="{E59A3AA1-4456-482F-A514-10BC3E030511}" destId="{48DB6C72-9476-46A8-A7B1-362834A04659}" srcOrd="10" destOrd="0" presId="urn:microsoft.com/office/officeart/2005/8/layout/chevron1"/>
    <dgm:cxn modelId="{29D35A6E-AEA0-4015-949E-2C20CB1B6FFF}" type="presParOf" srcId="{E59A3AA1-4456-482F-A514-10BC3E030511}" destId="{73C3018A-3BCF-4F84-94F0-C1E38A294445}" srcOrd="11" destOrd="0" presId="urn:microsoft.com/office/officeart/2005/8/layout/chevron1"/>
    <dgm:cxn modelId="{CE75E376-A0CF-45AD-A1C5-B5EFDA3A3AB7}" type="presParOf" srcId="{E59A3AA1-4456-482F-A514-10BC3E030511}" destId="{B1F183C7-4128-441B-9040-CEC245AAA671}" srcOrd="12" destOrd="0" presId="urn:microsoft.com/office/officeart/2005/8/layout/chevron1"/>
    <dgm:cxn modelId="{DB6A0A52-7089-4B61-8860-896B18CFAED4}" type="presParOf" srcId="{E59A3AA1-4456-482F-A514-10BC3E030511}" destId="{8B966912-F62C-4DB4-9741-03C78CA48121}" srcOrd="13" destOrd="0" presId="urn:microsoft.com/office/officeart/2005/8/layout/chevron1"/>
    <dgm:cxn modelId="{72162AC1-6D4B-4E88-B9DE-6E5C55BDD1FB}" type="presParOf" srcId="{E59A3AA1-4456-482F-A514-10BC3E030511}" destId="{5F3D77F7-2117-4310-82D6-CC46973B96CE}" srcOrd="14" destOrd="0" presId="urn:microsoft.com/office/officeart/2005/8/layout/chevron1"/>
    <dgm:cxn modelId="{30DF1B8F-CAF4-46B2-919D-4EC984C33EF9}" type="presParOf" srcId="{E59A3AA1-4456-482F-A514-10BC3E030511}" destId="{F6A0359B-3FA6-4B4A-90B3-02DF2DDF0B4E}" srcOrd="15" destOrd="0" presId="urn:microsoft.com/office/officeart/2005/8/layout/chevron1"/>
    <dgm:cxn modelId="{21E9FF17-794A-4E79-943C-ABA2F533CF36}"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BFBFBF"/>
        </a:solidFill>
      </dgm:spPr>
      <dgm:t>
        <a:bodyPr/>
        <a:lstStyle/>
        <a:p>
          <a:r>
            <a:rPr lang="en-GB" sz="1300" dirty="0">
              <a:solidFill>
                <a:schemeClr val="bg1"/>
              </a:solidFill>
            </a:rPr>
            <a:t>Design</a:t>
          </a: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gradFill rotWithShape="0">
          <a:gsLst>
            <a:gs pos="3000">
              <a:srgbClr val="2E75B6"/>
            </a:gs>
            <a:gs pos="37000">
              <a:srgbClr val="BFBFBF">
                <a:shade val="67500"/>
                <a:satMod val="115000"/>
              </a:srgbClr>
            </a:gs>
            <a:gs pos="100000">
              <a:srgbClr val="BFBFBF">
                <a:shade val="100000"/>
                <a:satMod val="115000"/>
              </a:srgbClr>
            </a:gs>
          </a:gsLst>
          <a:lin ang="0" scaled="1"/>
        </a:gradFill>
      </dgm:spPr>
      <dgm:t>
        <a:bodyPr/>
        <a:lstStyle/>
        <a:p>
          <a:r>
            <a:rPr lang="en-GB" sz="1300" dirty="0">
              <a:solidFill>
                <a:schemeClr val="bg1"/>
              </a:solidFill>
            </a:rPr>
            <a:t>Validate</a:t>
          </a: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a:solidFill>
                <a:schemeClr val="bg1"/>
              </a:solidFill>
            </a:rPr>
            <a:t>Transition</a:t>
          </a: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a:solidFill>
                <a:schemeClr val="accent2"/>
              </a:solidFill>
            </a:rPr>
            <a:t>Go Live</a:t>
          </a: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a:solidFill>
                <a:schemeClr val="bg1"/>
              </a:solidFill>
            </a:rPr>
            <a:t>Realization</a:t>
          </a: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a:solidFill>
                <a:schemeClr val="bg1"/>
              </a:solidFill>
            </a:rPr>
            <a:t>Stabilization</a:t>
          </a: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55000">
              <a:srgbClr val="2E75B6"/>
            </a:gs>
            <a:gs pos="85000">
              <a:srgbClr val="BFBFBF">
                <a:shade val="67500"/>
                <a:satMod val="115000"/>
              </a:srgbClr>
            </a:gs>
            <a:gs pos="100000">
              <a:srgbClr val="BFBFBF">
                <a:shade val="100000"/>
                <a:satMod val="115000"/>
              </a:srgbClr>
            </a:gs>
          </a:gsLst>
          <a:lin ang="0" scaled="1"/>
          <a:tileRect/>
        </a:gradFill>
      </dgm:spPr>
      <dgm:t>
        <a:bodyPr/>
        <a:lstStyle/>
        <a:p>
          <a:r>
            <a:rPr lang="en-GB" sz="1300" dirty="0">
              <a:solidFill>
                <a:schemeClr val="bg1"/>
              </a:solidFill>
            </a:rPr>
            <a:t>Configure</a:t>
          </a: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747550EC-1602-441D-A416-164B602D685B}" type="presOf" srcId="{B2D8824F-FCA3-40D3-ADF0-216360405402}" destId="{48DB6C72-9476-46A8-A7B1-362834A04659}" srcOrd="0" destOrd="0" presId="urn:microsoft.com/office/officeart/2005/8/layout/chevron1"/>
    <dgm:cxn modelId="{1986D9BB-F5B9-4C90-851B-E05735EA2AAB}" type="presOf" srcId="{152C0CFE-894B-4DCD-9C91-F961733C6C8A}" destId="{8A2BE7DB-4C89-4154-B8EA-CABB8FBA3A4D}"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1C88A05D-700C-4230-A463-1A5225F16943}" type="presOf" srcId="{D3E32C3F-8B1E-4470-AE4B-AF7542F719A6}" destId="{9101A43E-9FA8-44D0-8B4B-B43A17F0B301}" srcOrd="0" destOrd="0" presId="urn:microsoft.com/office/officeart/2005/8/layout/chevron1"/>
    <dgm:cxn modelId="{2FE19D0C-9DB3-4ABF-ABAE-71F242CE9AC8}" type="presOf" srcId="{4F4BE03B-5823-4BC9-90E7-5574EACE09E5}" destId="{B1F183C7-4128-441B-9040-CEC245AAA671}" srcOrd="0" destOrd="0" presId="urn:microsoft.com/office/officeart/2005/8/layout/chevron1"/>
    <dgm:cxn modelId="{88870FC6-A1BC-4E21-B5BD-C55DC951929A}" type="presOf" srcId="{7C140BA5-61A2-4C44-8F2C-83C38D316D75}" destId="{66CDB625-3567-480B-96DE-D9D9D01967F2}" srcOrd="0" destOrd="0" presId="urn:microsoft.com/office/officeart/2005/8/layout/chevron1"/>
    <dgm:cxn modelId="{ECD79F6F-5A80-4ED3-A25D-6AD26CFF14FF}" type="presOf" srcId="{85014035-4376-41F7-B98E-7A3EC9856736}" destId="{E59A3AA1-4456-482F-A514-10BC3E03051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2FC9FB83-0113-4192-ADC6-63E82CCD86A4}" type="presOf" srcId="{291C0FC7-AB24-426F-95D5-FCAF7D733561}" destId="{5F3D77F7-2117-4310-82D6-CC46973B96CE}" srcOrd="0" destOrd="0" presId="urn:microsoft.com/office/officeart/2005/8/layout/chevron1"/>
    <dgm:cxn modelId="{F67E57F0-42E2-4BE3-AFCD-E8531C9A4F7C}"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75676D29-A108-4BDD-B1BB-3B58853CD824}"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49C8C5AB-39E0-4104-959A-C484FF2685D1}" type="presOf" srcId="{626C66CD-664C-4CA9-9020-B8D6763AE2FD}" destId="{D79C9E3A-AD33-4FF1-AFAE-6CA861113F40}"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BCC9295-F855-42CD-9127-3F47262B1343}" type="presParOf" srcId="{E59A3AA1-4456-482F-A514-10BC3E030511}" destId="{66CDB625-3567-480B-96DE-D9D9D01967F2}" srcOrd="0" destOrd="0" presId="urn:microsoft.com/office/officeart/2005/8/layout/chevron1"/>
    <dgm:cxn modelId="{B30490F1-3DC5-4FB5-BB43-E0EEF90F04FB}" type="presParOf" srcId="{E59A3AA1-4456-482F-A514-10BC3E030511}" destId="{E69D944D-B787-42EF-A817-E7A1749D8736}" srcOrd="1" destOrd="0" presId="urn:microsoft.com/office/officeart/2005/8/layout/chevron1"/>
    <dgm:cxn modelId="{97FF8BEB-F575-44B1-9ACB-21323DA9DA43}" type="presParOf" srcId="{E59A3AA1-4456-482F-A514-10BC3E030511}" destId="{4DB2B4C5-616C-405E-B54B-EC90D8032080}" srcOrd="2" destOrd="0" presId="urn:microsoft.com/office/officeart/2005/8/layout/chevron1"/>
    <dgm:cxn modelId="{0A9747B6-19EA-41DD-8AAD-CC510680267A}" type="presParOf" srcId="{E59A3AA1-4456-482F-A514-10BC3E030511}" destId="{7DA42B1B-26D5-4E6A-878A-49EBD2B2C1FF}" srcOrd="3" destOrd="0" presId="urn:microsoft.com/office/officeart/2005/8/layout/chevron1"/>
    <dgm:cxn modelId="{18113ACF-82A3-4C37-9D77-62C224A7CBC7}" type="presParOf" srcId="{E59A3AA1-4456-482F-A514-10BC3E030511}" destId="{8A2BE7DB-4C89-4154-B8EA-CABB8FBA3A4D}" srcOrd="4" destOrd="0" presId="urn:microsoft.com/office/officeart/2005/8/layout/chevron1"/>
    <dgm:cxn modelId="{97A4EC69-E5C2-4A46-9E9D-EDA5E6E6C259}" type="presParOf" srcId="{E59A3AA1-4456-482F-A514-10BC3E030511}" destId="{9FB0C3C1-B3A4-4406-AA3E-E68647A3DA67}" srcOrd="5" destOrd="0" presId="urn:microsoft.com/office/officeart/2005/8/layout/chevron1"/>
    <dgm:cxn modelId="{3D5C0BB2-56D1-4C95-B789-994B65A976F1}" type="presParOf" srcId="{E59A3AA1-4456-482F-A514-10BC3E030511}" destId="{9101A43E-9FA8-44D0-8B4B-B43A17F0B301}" srcOrd="6" destOrd="0" presId="urn:microsoft.com/office/officeart/2005/8/layout/chevron1"/>
    <dgm:cxn modelId="{9F6676C5-7F27-47C5-B5BA-EF8111C7EB2E}" type="presParOf" srcId="{E59A3AA1-4456-482F-A514-10BC3E030511}" destId="{C0DF1FFC-718C-41AA-B1B4-399BF34A0C85}" srcOrd="7" destOrd="0" presId="urn:microsoft.com/office/officeart/2005/8/layout/chevron1"/>
    <dgm:cxn modelId="{D2199184-95B8-4A0C-B577-A1128EEB22A2}" type="presParOf" srcId="{E59A3AA1-4456-482F-A514-10BC3E030511}" destId="{D79C9E3A-AD33-4FF1-AFAE-6CA861113F40}" srcOrd="8" destOrd="0" presId="urn:microsoft.com/office/officeart/2005/8/layout/chevron1"/>
    <dgm:cxn modelId="{1AEA12C9-B272-464A-BDDB-2BA78B94BD43}" type="presParOf" srcId="{E59A3AA1-4456-482F-A514-10BC3E030511}" destId="{DC91B037-C717-4289-AE40-B313064DA6EB}" srcOrd="9" destOrd="0" presId="urn:microsoft.com/office/officeart/2005/8/layout/chevron1"/>
    <dgm:cxn modelId="{EC24E71B-EE8F-4CFE-8D6E-110CF8A9A8CF}" type="presParOf" srcId="{E59A3AA1-4456-482F-A514-10BC3E030511}" destId="{48DB6C72-9476-46A8-A7B1-362834A04659}" srcOrd="10" destOrd="0" presId="urn:microsoft.com/office/officeart/2005/8/layout/chevron1"/>
    <dgm:cxn modelId="{FB8D6DC5-DEDF-4144-BDC7-94FC91032D5F}" type="presParOf" srcId="{E59A3AA1-4456-482F-A514-10BC3E030511}" destId="{73C3018A-3BCF-4F84-94F0-C1E38A294445}" srcOrd="11" destOrd="0" presId="urn:microsoft.com/office/officeart/2005/8/layout/chevron1"/>
    <dgm:cxn modelId="{D4627003-360F-4920-9FD6-B14532F70EE1}" type="presParOf" srcId="{E59A3AA1-4456-482F-A514-10BC3E030511}" destId="{B1F183C7-4128-441B-9040-CEC245AAA671}" srcOrd="12" destOrd="0" presId="urn:microsoft.com/office/officeart/2005/8/layout/chevron1"/>
    <dgm:cxn modelId="{89DD0FF6-D0D2-46FD-BA87-27BA238589A6}" type="presParOf" srcId="{E59A3AA1-4456-482F-A514-10BC3E030511}" destId="{8B966912-F62C-4DB4-9741-03C78CA48121}" srcOrd="13" destOrd="0" presId="urn:microsoft.com/office/officeart/2005/8/layout/chevron1"/>
    <dgm:cxn modelId="{E1F5A91D-B08B-4CF6-96CC-BD50F97BBCED}" type="presParOf" srcId="{E59A3AA1-4456-482F-A514-10BC3E030511}" destId="{5F3D77F7-2117-4310-82D6-CC46973B96CE}" srcOrd="14" destOrd="0" presId="urn:microsoft.com/office/officeart/2005/8/layout/chevron1"/>
    <dgm:cxn modelId="{F2717FE3-3A0D-4267-889A-C3D582B87BA0}" type="presParOf" srcId="{E59A3AA1-4456-482F-A514-10BC3E030511}" destId="{F6A0359B-3FA6-4B4A-90B3-02DF2DDF0B4E}" srcOrd="15" destOrd="0" presId="urn:microsoft.com/office/officeart/2005/8/layout/chevron1"/>
    <dgm:cxn modelId="{2D08102C-8DB3-45A8-B394-4DC681DAC3B2}" type="presParOf" srcId="{E59A3AA1-4456-482F-A514-10BC3E030511}" destId="{05E9B768-C4F6-4368-A29F-C29CFF7A9381}" srcOrd="16" destOrd="0" presId="urn:microsoft.com/office/officeart/2005/8/layout/chevron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31507D1-48D6-4F64-AC9D-3C1D198BAE81}"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n-US"/>
        </a:p>
      </dgm:t>
    </dgm:pt>
    <dgm:pt modelId="{C81D5B4B-12D0-4B60-9868-35A2999C47C8}">
      <dgm:prSet phldrT="[Text]"/>
      <dgm:spPr/>
      <dgm:t>
        <a:bodyPr/>
        <a:lstStyle/>
        <a:p>
          <a:r>
            <a:rPr lang="en-US" dirty="0" smtClean="0"/>
            <a:t>Streamline</a:t>
          </a:r>
          <a:endParaRPr lang="en-US" dirty="0"/>
        </a:p>
      </dgm:t>
    </dgm:pt>
    <dgm:pt modelId="{2C8DFEFF-9B6E-4CB0-8237-F1E73DE0B648}" type="parTrans" cxnId="{F9C6A083-469A-44AD-A85D-AC58471B0E2C}">
      <dgm:prSet/>
      <dgm:spPr/>
      <dgm:t>
        <a:bodyPr/>
        <a:lstStyle/>
        <a:p>
          <a:endParaRPr lang="en-US"/>
        </a:p>
      </dgm:t>
    </dgm:pt>
    <dgm:pt modelId="{5E22B6F6-7D33-46B6-8204-BD6C3DC6F39F}" type="sibTrans" cxnId="{F9C6A083-469A-44AD-A85D-AC58471B0E2C}">
      <dgm:prSet/>
      <dgm:spPr/>
      <dgm:t>
        <a:bodyPr/>
        <a:lstStyle/>
        <a:p>
          <a:endParaRPr lang="en-US"/>
        </a:p>
      </dgm:t>
    </dgm:pt>
    <dgm:pt modelId="{0B7C00E9-2BB8-43F3-9745-1B69C9A1395B}">
      <dgm:prSet phldrT="[Text]"/>
      <dgm:spPr/>
      <dgm:t>
        <a:bodyPr/>
        <a:lstStyle/>
        <a:p>
          <a:r>
            <a:rPr lang="en-US" dirty="0" smtClean="0"/>
            <a:t>Adopt single institutional best practice</a:t>
          </a:r>
          <a:endParaRPr lang="en-US" dirty="0"/>
        </a:p>
      </dgm:t>
    </dgm:pt>
    <dgm:pt modelId="{281B7F32-3811-4434-8FE3-A41247290C4D}" type="parTrans" cxnId="{ED239C8C-2DB6-4D4B-9BA9-0A5BF70DFA59}">
      <dgm:prSet/>
      <dgm:spPr/>
      <dgm:t>
        <a:bodyPr/>
        <a:lstStyle/>
        <a:p>
          <a:endParaRPr lang="en-US"/>
        </a:p>
      </dgm:t>
    </dgm:pt>
    <dgm:pt modelId="{B8FE5A7B-BF32-4E60-9DAF-C43EB9675661}" type="sibTrans" cxnId="{ED239C8C-2DB6-4D4B-9BA9-0A5BF70DFA59}">
      <dgm:prSet/>
      <dgm:spPr/>
      <dgm:t>
        <a:bodyPr/>
        <a:lstStyle/>
        <a:p>
          <a:endParaRPr lang="en-US"/>
        </a:p>
      </dgm:t>
    </dgm:pt>
    <dgm:pt modelId="{6ABF0602-7E6F-44D9-85D9-B7B44A057FB7}">
      <dgm:prSet phldrT="[Text]"/>
      <dgm:spPr/>
      <dgm:t>
        <a:bodyPr/>
        <a:lstStyle/>
        <a:p>
          <a:r>
            <a:rPr lang="en-US" b="0" i="0" dirty="0" smtClean="0"/>
            <a:t>Identify process inefficiencies and apply Lean Six Sigma proven process improvement methodology to streamline and realize cost and time savings</a:t>
          </a:r>
          <a:endParaRPr lang="en-US" dirty="0"/>
        </a:p>
      </dgm:t>
    </dgm:pt>
    <dgm:pt modelId="{09A4BEA0-EC6B-4045-A718-DBE1C83CDD16}" type="parTrans" cxnId="{0EB8659D-55AA-4271-8ACD-64F1E0960639}">
      <dgm:prSet/>
      <dgm:spPr/>
      <dgm:t>
        <a:bodyPr/>
        <a:lstStyle/>
        <a:p>
          <a:endParaRPr lang="en-US"/>
        </a:p>
      </dgm:t>
    </dgm:pt>
    <dgm:pt modelId="{39FD801B-FD0C-4A2A-97D1-61ECA0034D0F}" type="sibTrans" cxnId="{0EB8659D-55AA-4271-8ACD-64F1E0960639}">
      <dgm:prSet/>
      <dgm:spPr/>
      <dgm:t>
        <a:bodyPr/>
        <a:lstStyle/>
        <a:p>
          <a:endParaRPr lang="en-US"/>
        </a:p>
      </dgm:t>
    </dgm:pt>
    <dgm:pt modelId="{37892EAA-76BF-48DD-8158-26D95822A84F}">
      <dgm:prSet/>
      <dgm:spPr/>
      <dgm:t>
        <a:bodyPr/>
        <a:lstStyle/>
        <a:p>
          <a:r>
            <a:rPr lang="en-US" b="0" i="0" dirty="0" smtClean="0"/>
            <a:t>Reduce variation in processes and determine a unified best practices to be adopted institutionally</a:t>
          </a:r>
          <a:endParaRPr lang="en-US" dirty="0"/>
        </a:p>
      </dgm:t>
    </dgm:pt>
    <dgm:pt modelId="{4468499F-068B-456C-9754-B591ECFB1147}" type="parTrans" cxnId="{9445BCC3-8FC0-4E49-845B-6B988C8A9634}">
      <dgm:prSet/>
      <dgm:spPr/>
      <dgm:t>
        <a:bodyPr/>
        <a:lstStyle/>
        <a:p>
          <a:endParaRPr lang="en-US"/>
        </a:p>
      </dgm:t>
    </dgm:pt>
    <dgm:pt modelId="{B31B0CCC-05E1-4A8E-90BE-ACAD9465F0F8}" type="sibTrans" cxnId="{9445BCC3-8FC0-4E49-845B-6B988C8A9634}">
      <dgm:prSet/>
      <dgm:spPr/>
      <dgm:t>
        <a:bodyPr/>
        <a:lstStyle/>
        <a:p>
          <a:endParaRPr lang="en-US"/>
        </a:p>
      </dgm:t>
    </dgm:pt>
    <dgm:pt modelId="{7E1F73A8-E61C-4013-B651-A8D9F9071A73}">
      <dgm:prSet/>
      <dgm:spPr/>
      <dgm:t>
        <a:bodyPr/>
        <a:lstStyle/>
        <a:p>
          <a:r>
            <a:rPr lang="en-US" b="0" i="0" dirty="0" smtClean="0"/>
            <a:t>Leverage system capabilities and process improvements to gain efficiencies that are configured for consistent and singular implementation and utilization</a:t>
          </a:r>
          <a:endParaRPr lang="en-US" dirty="0"/>
        </a:p>
      </dgm:t>
    </dgm:pt>
    <dgm:pt modelId="{CD465DEC-168B-447F-886C-85F6CCED0FB0}" type="parTrans" cxnId="{3B567556-866F-4969-A1FE-06885CCD2F0D}">
      <dgm:prSet/>
      <dgm:spPr/>
      <dgm:t>
        <a:bodyPr/>
        <a:lstStyle/>
        <a:p>
          <a:endParaRPr lang="en-US"/>
        </a:p>
      </dgm:t>
    </dgm:pt>
    <dgm:pt modelId="{E8B00712-AC9D-425D-81B2-BBF08786FBB1}" type="sibTrans" cxnId="{3B567556-866F-4969-A1FE-06885CCD2F0D}">
      <dgm:prSet/>
      <dgm:spPr/>
      <dgm:t>
        <a:bodyPr/>
        <a:lstStyle/>
        <a:p>
          <a:endParaRPr lang="en-US"/>
        </a:p>
      </dgm:t>
    </dgm:pt>
    <dgm:pt modelId="{98B8FA45-1D5D-416A-84FB-57D767D6DEA9}">
      <dgm:prSet phldrT="[Text]"/>
      <dgm:spPr/>
      <dgm:t>
        <a:bodyPr/>
        <a:lstStyle/>
        <a:p>
          <a:r>
            <a:rPr lang="en-US" dirty="0" smtClean="0"/>
            <a:t>Reduce Variation</a:t>
          </a:r>
          <a:endParaRPr lang="en-US" dirty="0"/>
        </a:p>
      </dgm:t>
    </dgm:pt>
    <dgm:pt modelId="{CDA9BAAA-FDF8-4700-BF4E-42A5A0F0659C}" type="sibTrans" cxnId="{0167AF8B-5B49-4120-97E4-A7F2BE91FB09}">
      <dgm:prSet/>
      <dgm:spPr/>
      <dgm:t>
        <a:bodyPr/>
        <a:lstStyle/>
        <a:p>
          <a:endParaRPr lang="en-US"/>
        </a:p>
      </dgm:t>
    </dgm:pt>
    <dgm:pt modelId="{53F4E9EC-B4AA-41DE-BD15-C399CAE8B9B2}" type="parTrans" cxnId="{0167AF8B-5B49-4120-97E4-A7F2BE91FB09}">
      <dgm:prSet/>
      <dgm:spPr/>
      <dgm:t>
        <a:bodyPr/>
        <a:lstStyle/>
        <a:p>
          <a:endParaRPr lang="en-US"/>
        </a:p>
      </dgm:t>
    </dgm:pt>
    <dgm:pt modelId="{6306EB1A-BD26-4354-8564-994C4B001B12}" type="pres">
      <dgm:prSet presAssocID="{731507D1-48D6-4F64-AC9D-3C1D198BAE81}" presName="linear" presStyleCnt="0">
        <dgm:presLayoutVars>
          <dgm:dir/>
          <dgm:animLvl val="lvl"/>
          <dgm:resizeHandles val="exact"/>
        </dgm:presLayoutVars>
      </dgm:prSet>
      <dgm:spPr/>
      <dgm:t>
        <a:bodyPr/>
        <a:lstStyle/>
        <a:p>
          <a:endParaRPr lang="en-US"/>
        </a:p>
      </dgm:t>
    </dgm:pt>
    <dgm:pt modelId="{B00B885E-21AF-493A-AC49-106C7828ADB1}" type="pres">
      <dgm:prSet presAssocID="{C81D5B4B-12D0-4B60-9868-35A2999C47C8}" presName="parentLin" presStyleCnt="0"/>
      <dgm:spPr/>
    </dgm:pt>
    <dgm:pt modelId="{89D23896-F6B1-4F07-A7BC-4FCABF8C7A6C}" type="pres">
      <dgm:prSet presAssocID="{C81D5B4B-12D0-4B60-9868-35A2999C47C8}" presName="parentLeftMargin" presStyleLbl="node1" presStyleIdx="0" presStyleCnt="3"/>
      <dgm:spPr/>
      <dgm:t>
        <a:bodyPr/>
        <a:lstStyle/>
        <a:p>
          <a:endParaRPr lang="en-US"/>
        </a:p>
      </dgm:t>
    </dgm:pt>
    <dgm:pt modelId="{D4148B1A-F1D8-494A-AED5-991A0A9C8519}" type="pres">
      <dgm:prSet presAssocID="{C81D5B4B-12D0-4B60-9868-35A2999C47C8}" presName="parentText" presStyleLbl="node1" presStyleIdx="0" presStyleCnt="3">
        <dgm:presLayoutVars>
          <dgm:chMax val="0"/>
          <dgm:bulletEnabled val="1"/>
        </dgm:presLayoutVars>
      </dgm:prSet>
      <dgm:spPr/>
      <dgm:t>
        <a:bodyPr/>
        <a:lstStyle/>
        <a:p>
          <a:endParaRPr lang="en-US"/>
        </a:p>
      </dgm:t>
    </dgm:pt>
    <dgm:pt modelId="{C27238DC-819E-40C3-A43B-B3500161C74E}" type="pres">
      <dgm:prSet presAssocID="{C81D5B4B-12D0-4B60-9868-35A2999C47C8}" presName="negativeSpace" presStyleCnt="0"/>
      <dgm:spPr/>
    </dgm:pt>
    <dgm:pt modelId="{E78770DC-3551-4C2D-B459-3352FA821942}" type="pres">
      <dgm:prSet presAssocID="{C81D5B4B-12D0-4B60-9868-35A2999C47C8}" presName="childText" presStyleLbl="conFgAcc1" presStyleIdx="0" presStyleCnt="3">
        <dgm:presLayoutVars>
          <dgm:bulletEnabled val="1"/>
        </dgm:presLayoutVars>
      </dgm:prSet>
      <dgm:spPr/>
      <dgm:t>
        <a:bodyPr/>
        <a:lstStyle/>
        <a:p>
          <a:endParaRPr lang="en-US"/>
        </a:p>
      </dgm:t>
    </dgm:pt>
    <dgm:pt modelId="{7F3D96CB-0C22-4412-9BE6-2E4B81D7DA51}" type="pres">
      <dgm:prSet presAssocID="{5E22B6F6-7D33-46B6-8204-BD6C3DC6F39F}" presName="spaceBetweenRectangles" presStyleCnt="0"/>
      <dgm:spPr/>
    </dgm:pt>
    <dgm:pt modelId="{CB4233F8-639D-436B-BC9E-E9068AF22081}" type="pres">
      <dgm:prSet presAssocID="{98B8FA45-1D5D-416A-84FB-57D767D6DEA9}" presName="parentLin" presStyleCnt="0"/>
      <dgm:spPr/>
    </dgm:pt>
    <dgm:pt modelId="{8D824562-8375-44DB-8918-3EADE28B6619}" type="pres">
      <dgm:prSet presAssocID="{98B8FA45-1D5D-416A-84FB-57D767D6DEA9}" presName="parentLeftMargin" presStyleLbl="node1" presStyleIdx="0" presStyleCnt="3"/>
      <dgm:spPr/>
      <dgm:t>
        <a:bodyPr/>
        <a:lstStyle/>
        <a:p>
          <a:endParaRPr lang="en-US"/>
        </a:p>
      </dgm:t>
    </dgm:pt>
    <dgm:pt modelId="{A0C5D76D-280E-420F-A4C9-CB3CD94907D0}" type="pres">
      <dgm:prSet presAssocID="{98B8FA45-1D5D-416A-84FB-57D767D6DEA9}" presName="parentText" presStyleLbl="node1" presStyleIdx="1" presStyleCnt="3">
        <dgm:presLayoutVars>
          <dgm:chMax val="0"/>
          <dgm:bulletEnabled val="1"/>
        </dgm:presLayoutVars>
      </dgm:prSet>
      <dgm:spPr/>
      <dgm:t>
        <a:bodyPr/>
        <a:lstStyle/>
        <a:p>
          <a:endParaRPr lang="en-US"/>
        </a:p>
      </dgm:t>
    </dgm:pt>
    <dgm:pt modelId="{2F05B684-BD16-4E9C-8AF6-54D48EB8AFFD}" type="pres">
      <dgm:prSet presAssocID="{98B8FA45-1D5D-416A-84FB-57D767D6DEA9}" presName="negativeSpace" presStyleCnt="0"/>
      <dgm:spPr/>
    </dgm:pt>
    <dgm:pt modelId="{362B30A8-9C47-487C-A643-4BA5D4227780}" type="pres">
      <dgm:prSet presAssocID="{98B8FA45-1D5D-416A-84FB-57D767D6DEA9}" presName="childText" presStyleLbl="conFgAcc1" presStyleIdx="1" presStyleCnt="3">
        <dgm:presLayoutVars>
          <dgm:bulletEnabled val="1"/>
        </dgm:presLayoutVars>
      </dgm:prSet>
      <dgm:spPr/>
      <dgm:t>
        <a:bodyPr/>
        <a:lstStyle/>
        <a:p>
          <a:endParaRPr lang="en-US"/>
        </a:p>
      </dgm:t>
    </dgm:pt>
    <dgm:pt modelId="{31B468E1-0659-4FDB-A062-9D6CCD003F1A}" type="pres">
      <dgm:prSet presAssocID="{CDA9BAAA-FDF8-4700-BF4E-42A5A0F0659C}" presName="spaceBetweenRectangles" presStyleCnt="0"/>
      <dgm:spPr/>
    </dgm:pt>
    <dgm:pt modelId="{D6AD3999-22D3-4C62-AB8F-7D824D866FFD}" type="pres">
      <dgm:prSet presAssocID="{0B7C00E9-2BB8-43F3-9745-1B69C9A1395B}" presName="parentLin" presStyleCnt="0"/>
      <dgm:spPr/>
    </dgm:pt>
    <dgm:pt modelId="{510C2FA2-A91D-4D89-8A39-B7FFCF46F59E}" type="pres">
      <dgm:prSet presAssocID="{0B7C00E9-2BB8-43F3-9745-1B69C9A1395B}" presName="parentLeftMargin" presStyleLbl="node1" presStyleIdx="1" presStyleCnt="3"/>
      <dgm:spPr/>
      <dgm:t>
        <a:bodyPr/>
        <a:lstStyle/>
        <a:p>
          <a:endParaRPr lang="en-US"/>
        </a:p>
      </dgm:t>
    </dgm:pt>
    <dgm:pt modelId="{88947F43-D39C-4ABF-9628-DA39EFCAFBE0}" type="pres">
      <dgm:prSet presAssocID="{0B7C00E9-2BB8-43F3-9745-1B69C9A1395B}" presName="parentText" presStyleLbl="node1" presStyleIdx="2" presStyleCnt="3">
        <dgm:presLayoutVars>
          <dgm:chMax val="0"/>
          <dgm:bulletEnabled val="1"/>
        </dgm:presLayoutVars>
      </dgm:prSet>
      <dgm:spPr/>
      <dgm:t>
        <a:bodyPr/>
        <a:lstStyle/>
        <a:p>
          <a:endParaRPr lang="en-US"/>
        </a:p>
      </dgm:t>
    </dgm:pt>
    <dgm:pt modelId="{6EE75199-D100-4E97-99A0-84A6AB734965}" type="pres">
      <dgm:prSet presAssocID="{0B7C00E9-2BB8-43F3-9745-1B69C9A1395B}" presName="negativeSpace" presStyleCnt="0"/>
      <dgm:spPr/>
    </dgm:pt>
    <dgm:pt modelId="{3DAB547A-6FD5-481B-AC43-55D3353C8D97}" type="pres">
      <dgm:prSet presAssocID="{0B7C00E9-2BB8-43F3-9745-1B69C9A1395B}" presName="childText" presStyleLbl="conFgAcc1" presStyleIdx="2" presStyleCnt="3">
        <dgm:presLayoutVars>
          <dgm:bulletEnabled val="1"/>
        </dgm:presLayoutVars>
      </dgm:prSet>
      <dgm:spPr/>
      <dgm:t>
        <a:bodyPr/>
        <a:lstStyle/>
        <a:p>
          <a:endParaRPr lang="en-US"/>
        </a:p>
      </dgm:t>
    </dgm:pt>
  </dgm:ptLst>
  <dgm:cxnLst>
    <dgm:cxn modelId="{34560FBF-0054-4346-B802-3ED159513412}" type="presOf" srcId="{0B7C00E9-2BB8-43F3-9745-1B69C9A1395B}" destId="{88947F43-D39C-4ABF-9628-DA39EFCAFBE0}" srcOrd="1" destOrd="0" presId="urn:microsoft.com/office/officeart/2005/8/layout/list1"/>
    <dgm:cxn modelId="{40790582-49B1-4353-89F8-9B55B64366FC}" type="presOf" srcId="{7E1F73A8-E61C-4013-B651-A8D9F9071A73}" destId="{3DAB547A-6FD5-481B-AC43-55D3353C8D97}" srcOrd="0" destOrd="0" presId="urn:microsoft.com/office/officeart/2005/8/layout/list1"/>
    <dgm:cxn modelId="{57BEE86A-70AC-4FED-9B86-57E3A33D1386}" type="presOf" srcId="{731507D1-48D6-4F64-AC9D-3C1D198BAE81}" destId="{6306EB1A-BD26-4354-8564-994C4B001B12}" srcOrd="0" destOrd="0" presId="urn:microsoft.com/office/officeart/2005/8/layout/list1"/>
    <dgm:cxn modelId="{ED239C8C-2DB6-4D4B-9BA9-0A5BF70DFA59}" srcId="{731507D1-48D6-4F64-AC9D-3C1D198BAE81}" destId="{0B7C00E9-2BB8-43F3-9745-1B69C9A1395B}" srcOrd="2" destOrd="0" parTransId="{281B7F32-3811-4434-8FE3-A41247290C4D}" sibTransId="{B8FE5A7B-BF32-4E60-9DAF-C43EB9675661}"/>
    <dgm:cxn modelId="{93E9E3EB-78B5-4004-A82B-0BE9310CB9E0}" type="presOf" srcId="{6ABF0602-7E6F-44D9-85D9-B7B44A057FB7}" destId="{E78770DC-3551-4C2D-B459-3352FA821942}" srcOrd="0" destOrd="0" presId="urn:microsoft.com/office/officeart/2005/8/layout/list1"/>
    <dgm:cxn modelId="{652E1A85-87F1-46FC-858D-AA00A0700303}" type="presOf" srcId="{C81D5B4B-12D0-4B60-9868-35A2999C47C8}" destId="{89D23896-F6B1-4F07-A7BC-4FCABF8C7A6C}" srcOrd="0" destOrd="0" presId="urn:microsoft.com/office/officeart/2005/8/layout/list1"/>
    <dgm:cxn modelId="{0DB112B5-19F3-4FE9-A726-F99B85AFF70A}" type="presOf" srcId="{37892EAA-76BF-48DD-8158-26D95822A84F}" destId="{362B30A8-9C47-487C-A643-4BA5D4227780}" srcOrd="0" destOrd="0" presId="urn:microsoft.com/office/officeart/2005/8/layout/list1"/>
    <dgm:cxn modelId="{C16A2431-F817-4EFE-B443-410CC9414532}" type="presOf" srcId="{C81D5B4B-12D0-4B60-9868-35A2999C47C8}" destId="{D4148B1A-F1D8-494A-AED5-991A0A9C8519}" srcOrd="1" destOrd="0" presId="urn:microsoft.com/office/officeart/2005/8/layout/list1"/>
    <dgm:cxn modelId="{DBCB2EBF-79EB-443C-B341-4213E2372104}" type="presOf" srcId="{98B8FA45-1D5D-416A-84FB-57D767D6DEA9}" destId="{8D824562-8375-44DB-8918-3EADE28B6619}" srcOrd="0" destOrd="0" presId="urn:microsoft.com/office/officeart/2005/8/layout/list1"/>
    <dgm:cxn modelId="{0EB8659D-55AA-4271-8ACD-64F1E0960639}" srcId="{C81D5B4B-12D0-4B60-9868-35A2999C47C8}" destId="{6ABF0602-7E6F-44D9-85D9-B7B44A057FB7}" srcOrd="0" destOrd="0" parTransId="{09A4BEA0-EC6B-4045-A718-DBE1C83CDD16}" sibTransId="{39FD801B-FD0C-4A2A-97D1-61ECA0034D0F}"/>
    <dgm:cxn modelId="{0167AF8B-5B49-4120-97E4-A7F2BE91FB09}" srcId="{731507D1-48D6-4F64-AC9D-3C1D198BAE81}" destId="{98B8FA45-1D5D-416A-84FB-57D767D6DEA9}" srcOrd="1" destOrd="0" parTransId="{53F4E9EC-B4AA-41DE-BD15-C399CAE8B9B2}" sibTransId="{CDA9BAAA-FDF8-4700-BF4E-42A5A0F0659C}"/>
    <dgm:cxn modelId="{2BE8786B-7A14-432F-81BD-712CFA54A256}" type="presOf" srcId="{98B8FA45-1D5D-416A-84FB-57D767D6DEA9}" destId="{A0C5D76D-280E-420F-A4C9-CB3CD94907D0}" srcOrd="1" destOrd="0" presId="urn:microsoft.com/office/officeart/2005/8/layout/list1"/>
    <dgm:cxn modelId="{3B567556-866F-4969-A1FE-06885CCD2F0D}" srcId="{0B7C00E9-2BB8-43F3-9745-1B69C9A1395B}" destId="{7E1F73A8-E61C-4013-B651-A8D9F9071A73}" srcOrd="0" destOrd="0" parTransId="{CD465DEC-168B-447F-886C-85F6CCED0FB0}" sibTransId="{E8B00712-AC9D-425D-81B2-BBF08786FBB1}"/>
    <dgm:cxn modelId="{DDE08302-1A1B-4E34-9981-EA93A5E055D4}" type="presOf" srcId="{0B7C00E9-2BB8-43F3-9745-1B69C9A1395B}" destId="{510C2FA2-A91D-4D89-8A39-B7FFCF46F59E}" srcOrd="0" destOrd="0" presId="urn:microsoft.com/office/officeart/2005/8/layout/list1"/>
    <dgm:cxn modelId="{9445BCC3-8FC0-4E49-845B-6B988C8A9634}" srcId="{98B8FA45-1D5D-416A-84FB-57D767D6DEA9}" destId="{37892EAA-76BF-48DD-8158-26D95822A84F}" srcOrd="0" destOrd="0" parTransId="{4468499F-068B-456C-9754-B591ECFB1147}" sibTransId="{B31B0CCC-05E1-4A8E-90BE-ACAD9465F0F8}"/>
    <dgm:cxn modelId="{F9C6A083-469A-44AD-A85D-AC58471B0E2C}" srcId="{731507D1-48D6-4F64-AC9D-3C1D198BAE81}" destId="{C81D5B4B-12D0-4B60-9868-35A2999C47C8}" srcOrd="0" destOrd="0" parTransId="{2C8DFEFF-9B6E-4CB0-8237-F1E73DE0B648}" sibTransId="{5E22B6F6-7D33-46B6-8204-BD6C3DC6F39F}"/>
    <dgm:cxn modelId="{76478DF3-C5DF-413F-B815-BED8C60175F0}" type="presParOf" srcId="{6306EB1A-BD26-4354-8564-994C4B001B12}" destId="{B00B885E-21AF-493A-AC49-106C7828ADB1}" srcOrd="0" destOrd="0" presId="urn:microsoft.com/office/officeart/2005/8/layout/list1"/>
    <dgm:cxn modelId="{E5B706F2-4DEE-44B1-B47E-118666984DF3}" type="presParOf" srcId="{B00B885E-21AF-493A-AC49-106C7828ADB1}" destId="{89D23896-F6B1-4F07-A7BC-4FCABF8C7A6C}" srcOrd="0" destOrd="0" presId="urn:microsoft.com/office/officeart/2005/8/layout/list1"/>
    <dgm:cxn modelId="{063D2FCD-D6C7-44BE-8515-4D047A7CD674}" type="presParOf" srcId="{B00B885E-21AF-493A-AC49-106C7828ADB1}" destId="{D4148B1A-F1D8-494A-AED5-991A0A9C8519}" srcOrd="1" destOrd="0" presId="urn:microsoft.com/office/officeart/2005/8/layout/list1"/>
    <dgm:cxn modelId="{208D3ADB-1D9B-445C-8881-5CA2A998C462}" type="presParOf" srcId="{6306EB1A-BD26-4354-8564-994C4B001B12}" destId="{C27238DC-819E-40C3-A43B-B3500161C74E}" srcOrd="1" destOrd="0" presId="urn:microsoft.com/office/officeart/2005/8/layout/list1"/>
    <dgm:cxn modelId="{477E0EA5-FE6A-4F81-96A9-C2314AE2E7FA}" type="presParOf" srcId="{6306EB1A-BD26-4354-8564-994C4B001B12}" destId="{E78770DC-3551-4C2D-B459-3352FA821942}" srcOrd="2" destOrd="0" presId="urn:microsoft.com/office/officeart/2005/8/layout/list1"/>
    <dgm:cxn modelId="{187BE4F1-901A-4203-A132-7BABE20F7605}" type="presParOf" srcId="{6306EB1A-BD26-4354-8564-994C4B001B12}" destId="{7F3D96CB-0C22-4412-9BE6-2E4B81D7DA51}" srcOrd="3" destOrd="0" presId="urn:microsoft.com/office/officeart/2005/8/layout/list1"/>
    <dgm:cxn modelId="{4247F5F0-570B-4384-BF3C-1448806AE633}" type="presParOf" srcId="{6306EB1A-BD26-4354-8564-994C4B001B12}" destId="{CB4233F8-639D-436B-BC9E-E9068AF22081}" srcOrd="4" destOrd="0" presId="urn:microsoft.com/office/officeart/2005/8/layout/list1"/>
    <dgm:cxn modelId="{9B504E10-7486-4087-8EC8-D1E4FDA5A763}" type="presParOf" srcId="{CB4233F8-639D-436B-BC9E-E9068AF22081}" destId="{8D824562-8375-44DB-8918-3EADE28B6619}" srcOrd="0" destOrd="0" presId="urn:microsoft.com/office/officeart/2005/8/layout/list1"/>
    <dgm:cxn modelId="{C69C8F05-3E4E-47A3-94B5-C06204A85489}" type="presParOf" srcId="{CB4233F8-639D-436B-BC9E-E9068AF22081}" destId="{A0C5D76D-280E-420F-A4C9-CB3CD94907D0}" srcOrd="1" destOrd="0" presId="urn:microsoft.com/office/officeart/2005/8/layout/list1"/>
    <dgm:cxn modelId="{7035DD5F-62EF-4A75-8575-4CEDC5041390}" type="presParOf" srcId="{6306EB1A-BD26-4354-8564-994C4B001B12}" destId="{2F05B684-BD16-4E9C-8AF6-54D48EB8AFFD}" srcOrd="5" destOrd="0" presId="urn:microsoft.com/office/officeart/2005/8/layout/list1"/>
    <dgm:cxn modelId="{EE3B4375-CC0A-4688-9427-94BCE6DE48DC}" type="presParOf" srcId="{6306EB1A-BD26-4354-8564-994C4B001B12}" destId="{362B30A8-9C47-487C-A643-4BA5D4227780}" srcOrd="6" destOrd="0" presId="urn:microsoft.com/office/officeart/2005/8/layout/list1"/>
    <dgm:cxn modelId="{89B1CA55-3F9D-424D-A0EB-C5B406058369}" type="presParOf" srcId="{6306EB1A-BD26-4354-8564-994C4B001B12}" destId="{31B468E1-0659-4FDB-A062-9D6CCD003F1A}" srcOrd="7" destOrd="0" presId="urn:microsoft.com/office/officeart/2005/8/layout/list1"/>
    <dgm:cxn modelId="{F61BDBF0-A7E4-41F6-ADC1-7EDB5BC2BC5C}" type="presParOf" srcId="{6306EB1A-BD26-4354-8564-994C4B001B12}" destId="{D6AD3999-22D3-4C62-AB8F-7D824D866FFD}" srcOrd="8" destOrd="0" presId="urn:microsoft.com/office/officeart/2005/8/layout/list1"/>
    <dgm:cxn modelId="{7D564962-69FC-44BF-B4EF-CFBFD3C22E1A}" type="presParOf" srcId="{D6AD3999-22D3-4C62-AB8F-7D824D866FFD}" destId="{510C2FA2-A91D-4D89-8A39-B7FFCF46F59E}" srcOrd="0" destOrd="0" presId="urn:microsoft.com/office/officeart/2005/8/layout/list1"/>
    <dgm:cxn modelId="{3861D62B-7950-406A-9ED8-C0D03FFAFF88}" type="presParOf" srcId="{D6AD3999-22D3-4C62-AB8F-7D824D866FFD}" destId="{88947F43-D39C-4ABF-9628-DA39EFCAFBE0}" srcOrd="1" destOrd="0" presId="urn:microsoft.com/office/officeart/2005/8/layout/list1"/>
    <dgm:cxn modelId="{8B4B0D5A-AB35-4A6D-9EFC-C7E41E81F635}" type="presParOf" srcId="{6306EB1A-BD26-4354-8564-994C4B001B12}" destId="{6EE75199-D100-4E97-99A0-84A6AB734965}" srcOrd="9" destOrd="0" presId="urn:microsoft.com/office/officeart/2005/8/layout/list1"/>
    <dgm:cxn modelId="{BF656661-1659-4ADB-8D98-49032A7EC67C}" type="presParOf" srcId="{6306EB1A-BD26-4354-8564-994C4B001B12}" destId="{3DAB547A-6FD5-481B-AC43-55D3353C8D97}"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1A2B3B5-5390-4AD4-8707-6DAFA2B0362C}" type="doc">
      <dgm:prSet loTypeId="urn:microsoft.com/office/officeart/2005/8/layout/chevron2" loCatId="list" qsTypeId="urn:microsoft.com/office/officeart/2005/8/quickstyle/simple1" qsCatId="simple" csTypeId="urn:microsoft.com/office/officeart/2005/8/colors/accent2_3" csCatId="accent2" phldr="1"/>
      <dgm:spPr/>
      <dgm:t>
        <a:bodyPr/>
        <a:lstStyle/>
        <a:p>
          <a:endParaRPr lang="en-US"/>
        </a:p>
      </dgm:t>
    </dgm:pt>
    <dgm:pt modelId="{416E506A-1814-4CBE-B4F4-9E2F0AC5EC09}">
      <dgm:prSet phldrT="[Text]" custT="1"/>
      <dgm:spPr/>
      <dgm:t>
        <a:bodyPr/>
        <a:lstStyle/>
        <a:p>
          <a:r>
            <a:rPr lang="en-US" sz="1600" b="1" dirty="0" smtClean="0"/>
            <a:t>Level 1 Function</a:t>
          </a:r>
          <a:endParaRPr lang="en-US" sz="1600" b="1" dirty="0"/>
        </a:p>
      </dgm:t>
    </dgm:pt>
    <dgm:pt modelId="{D718FAC7-53C0-468D-8375-2A7536343575}" type="parTrans" cxnId="{EA0E9EE5-4177-4716-9886-AB72AC2D9452}">
      <dgm:prSet/>
      <dgm:spPr/>
      <dgm:t>
        <a:bodyPr/>
        <a:lstStyle/>
        <a:p>
          <a:endParaRPr lang="en-US"/>
        </a:p>
      </dgm:t>
    </dgm:pt>
    <dgm:pt modelId="{3B9C47B0-2BEA-4B67-9B72-C516ECEF7E3F}" type="sibTrans" cxnId="{EA0E9EE5-4177-4716-9886-AB72AC2D9452}">
      <dgm:prSet/>
      <dgm:spPr/>
      <dgm:t>
        <a:bodyPr/>
        <a:lstStyle/>
        <a:p>
          <a:endParaRPr lang="en-US"/>
        </a:p>
      </dgm:t>
    </dgm:pt>
    <dgm:pt modelId="{108C62C0-1BA2-49B5-A958-0C1F03F7040D}">
      <dgm:prSet phldrT="[Text]"/>
      <dgm:spPr/>
      <dgm:t>
        <a:bodyPr/>
        <a:lstStyle/>
        <a:p>
          <a:r>
            <a:rPr lang="en-US" dirty="0" smtClean="0"/>
            <a:t>A function is a discreet set of activities focused on achieving an outcome.  Foundation for a Level 2 process.</a:t>
          </a:r>
          <a:endParaRPr lang="en-US" dirty="0"/>
        </a:p>
      </dgm:t>
    </dgm:pt>
    <dgm:pt modelId="{4F7E4A5E-6576-4D67-A2D7-1E04ABF27995}" type="parTrans" cxnId="{A13BFCEB-00A6-42FC-8A81-DA05FB609B8B}">
      <dgm:prSet/>
      <dgm:spPr/>
      <dgm:t>
        <a:bodyPr/>
        <a:lstStyle/>
        <a:p>
          <a:endParaRPr lang="en-US"/>
        </a:p>
      </dgm:t>
    </dgm:pt>
    <dgm:pt modelId="{CD368D5A-2F92-4F0D-A2C8-909AB5010E8A}" type="sibTrans" cxnId="{A13BFCEB-00A6-42FC-8A81-DA05FB609B8B}">
      <dgm:prSet/>
      <dgm:spPr/>
      <dgm:t>
        <a:bodyPr/>
        <a:lstStyle/>
        <a:p>
          <a:endParaRPr lang="en-US"/>
        </a:p>
      </dgm:t>
    </dgm:pt>
    <dgm:pt modelId="{7F05B7FA-A0A8-4F47-BEFF-F2E280C52203}">
      <dgm:prSet phldrT="[Text]" custT="1"/>
      <dgm:spPr/>
      <dgm:t>
        <a:bodyPr/>
        <a:lstStyle/>
        <a:p>
          <a:r>
            <a:rPr lang="en-US" sz="1600" b="1" dirty="0" smtClean="0"/>
            <a:t>Level 2 Activity</a:t>
          </a:r>
          <a:endParaRPr lang="en-US" sz="1600" b="1" dirty="0"/>
        </a:p>
      </dgm:t>
    </dgm:pt>
    <dgm:pt modelId="{1846351E-94B0-4454-98A0-D0579778E62E}" type="parTrans" cxnId="{EF357AC7-D10E-4A34-B50F-CED196611022}">
      <dgm:prSet/>
      <dgm:spPr/>
      <dgm:t>
        <a:bodyPr/>
        <a:lstStyle/>
        <a:p>
          <a:endParaRPr lang="en-US"/>
        </a:p>
      </dgm:t>
    </dgm:pt>
    <dgm:pt modelId="{BF4291D9-2254-45A9-8187-A0E82CEC4F87}" type="sibTrans" cxnId="{EF357AC7-D10E-4A34-B50F-CED196611022}">
      <dgm:prSet/>
      <dgm:spPr/>
      <dgm:t>
        <a:bodyPr/>
        <a:lstStyle/>
        <a:p>
          <a:endParaRPr lang="en-US"/>
        </a:p>
      </dgm:t>
    </dgm:pt>
    <dgm:pt modelId="{759B8525-48D4-4A45-AE25-A80B6979D3CC}">
      <dgm:prSet phldrT="[Text]"/>
      <dgm:spPr/>
      <dgm:t>
        <a:bodyPr/>
        <a:lstStyle/>
        <a:p>
          <a:r>
            <a:rPr lang="en-US" dirty="0" smtClean="0"/>
            <a:t>Breakdown of project-wide functions into major activities necessary to complete and maintain each function.  Foundation for Level 3 process.</a:t>
          </a:r>
          <a:endParaRPr lang="en-US" dirty="0"/>
        </a:p>
      </dgm:t>
    </dgm:pt>
    <dgm:pt modelId="{1ACD74A0-726C-4C33-B494-2BA6D0CB3D5D}" type="parTrans" cxnId="{9A60A84B-61B4-45A9-981E-B5F7DE5C78A3}">
      <dgm:prSet/>
      <dgm:spPr/>
      <dgm:t>
        <a:bodyPr/>
        <a:lstStyle/>
        <a:p>
          <a:endParaRPr lang="en-US"/>
        </a:p>
      </dgm:t>
    </dgm:pt>
    <dgm:pt modelId="{4BAE3486-7032-481A-A3D6-856FEC1E5A3B}" type="sibTrans" cxnId="{9A60A84B-61B4-45A9-981E-B5F7DE5C78A3}">
      <dgm:prSet/>
      <dgm:spPr/>
      <dgm:t>
        <a:bodyPr/>
        <a:lstStyle/>
        <a:p>
          <a:endParaRPr lang="en-US"/>
        </a:p>
      </dgm:t>
    </dgm:pt>
    <dgm:pt modelId="{09E39090-9054-4C5A-BFFA-D57847DA2E27}">
      <dgm:prSet phldrT="[Text]" custT="1"/>
      <dgm:spPr/>
      <dgm:t>
        <a:bodyPr/>
        <a:lstStyle/>
        <a:p>
          <a:r>
            <a:rPr lang="en-US" sz="1600" b="1" dirty="0" smtClean="0"/>
            <a:t>Level 3    Task</a:t>
          </a:r>
          <a:endParaRPr lang="en-US" sz="1600" b="1" dirty="0"/>
        </a:p>
      </dgm:t>
    </dgm:pt>
    <dgm:pt modelId="{F319F486-2272-476B-8B62-C0A4389DD9E0}" type="parTrans" cxnId="{3B71EC67-7ADA-4988-B1DC-50E17E376F02}">
      <dgm:prSet/>
      <dgm:spPr/>
      <dgm:t>
        <a:bodyPr/>
        <a:lstStyle/>
        <a:p>
          <a:endParaRPr lang="en-US"/>
        </a:p>
      </dgm:t>
    </dgm:pt>
    <dgm:pt modelId="{844D8F35-EF36-4B93-B5FC-5841F566F39A}" type="sibTrans" cxnId="{3B71EC67-7ADA-4988-B1DC-50E17E376F02}">
      <dgm:prSet/>
      <dgm:spPr/>
      <dgm:t>
        <a:bodyPr/>
        <a:lstStyle/>
        <a:p>
          <a:endParaRPr lang="en-US"/>
        </a:p>
      </dgm:t>
    </dgm:pt>
    <dgm:pt modelId="{CBA94C8A-2333-4C74-9048-188E0E009DE0}">
      <dgm:prSet phldrT="[Text]"/>
      <dgm:spPr/>
      <dgm:t>
        <a:bodyPr/>
        <a:lstStyle/>
        <a:p>
          <a:r>
            <a:rPr lang="en-US" dirty="0" smtClean="0"/>
            <a:t>Breakdown of major activities into high level process steps called tasks required to complete activities.  Foundation for Level 4 process.</a:t>
          </a:r>
          <a:endParaRPr lang="en-US" dirty="0"/>
        </a:p>
      </dgm:t>
    </dgm:pt>
    <dgm:pt modelId="{110E836C-3C97-4BDD-BC34-BF30DF7B36D5}" type="parTrans" cxnId="{8737A798-185A-4849-8911-8EBC5F43C41D}">
      <dgm:prSet/>
      <dgm:spPr/>
      <dgm:t>
        <a:bodyPr/>
        <a:lstStyle/>
        <a:p>
          <a:endParaRPr lang="en-US"/>
        </a:p>
      </dgm:t>
    </dgm:pt>
    <dgm:pt modelId="{B80A3072-27AE-4FA5-94BD-CAAC48BDFCCB}" type="sibTrans" cxnId="{8737A798-185A-4849-8911-8EBC5F43C41D}">
      <dgm:prSet/>
      <dgm:spPr/>
      <dgm:t>
        <a:bodyPr/>
        <a:lstStyle/>
        <a:p>
          <a:endParaRPr lang="en-US"/>
        </a:p>
      </dgm:t>
    </dgm:pt>
    <dgm:pt modelId="{31C6C46E-9A1A-47B7-B0E6-6D3EDA736122}">
      <dgm:prSet phldrT="[Text]" custT="1"/>
      <dgm:spPr/>
      <dgm:t>
        <a:bodyPr/>
        <a:lstStyle/>
        <a:p>
          <a:r>
            <a:rPr lang="en-US" sz="1600" b="1" dirty="0" smtClean="0"/>
            <a:t>Level 4 Subtask</a:t>
          </a:r>
          <a:endParaRPr lang="en-US" sz="1600" b="1" dirty="0"/>
        </a:p>
      </dgm:t>
    </dgm:pt>
    <dgm:pt modelId="{51A6A0DD-10F9-4967-8921-208F820AE6F5}" type="parTrans" cxnId="{EA92684F-F3D2-47A0-A291-E660045A0582}">
      <dgm:prSet/>
      <dgm:spPr/>
      <dgm:t>
        <a:bodyPr/>
        <a:lstStyle/>
        <a:p>
          <a:endParaRPr lang="en-US"/>
        </a:p>
      </dgm:t>
    </dgm:pt>
    <dgm:pt modelId="{5B4420A8-CC82-4B88-A15E-8F9F9D4738FC}" type="sibTrans" cxnId="{EA92684F-F3D2-47A0-A291-E660045A0582}">
      <dgm:prSet/>
      <dgm:spPr/>
      <dgm:t>
        <a:bodyPr/>
        <a:lstStyle/>
        <a:p>
          <a:endParaRPr lang="en-US"/>
        </a:p>
      </dgm:t>
    </dgm:pt>
    <dgm:pt modelId="{BC88E18E-EAEE-4D3B-A2AD-37BFDB07039A}">
      <dgm:prSet phldrT="[Text]"/>
      <dgm:spPr/>
      <dgm:t>
        <a:bodyPr/>
        <a:lstStyle/>
        <a:p>
          <a:r>
            <a:rPr lang="en-US" dirty="0" smtClean="0"/>
            <a:t>Breakdown of tasks into sub tasks that provide detail including organizational responsibility and role interactions</a:t>
          </a:r>
          <a:endParaRPr lang="en-US" dirty="0"/>
        </a:p>
      </dgm:t>
    </dgm:pt>
    <dgm:pt modelId="{B392D86E-54D6-4C70-8066-43024815D5C3}" type="parTrans" cxnId="{6BB10D54-C3E8-4CC8-B293-777A43BE70DC}">
      <dgm:prSet/>
      <dgm:spPr/>
      <dgm:t>
        <a:bodyPr/>
        <a:lstStyle/>
        <a:p>
          <a:endParaRPr lang="en-US"/>
        </a:p>
      </dgm:t>
    </dgm:pt>
    <dgm:pt modelId="{0938692B-71B8-4167-A064-E2E17840BFC7}" type="sibTrans" cxnId="{6BB10D54-C3E8-4CC8-B293-777A43BE70DC}">
      <dgm:prSet/>
      <dgm:spPr/>
      <dgm:t>
        <a:bodyPr/>
        <a:lstStyle/>
        <a:p>
          <a:endParaRPr lang="en-US"/>
        </a:p>
      </dgm:t>
    </dgm:pt>
    <dgm:pt modelId="{6DDB8CD0-6F3D-4709-91ED-3874872EB471}" type="pres">
      <dgm:prSet presAssocID="{F1A2B3B5-5390-4AD4-8707-6DAFA2B0362C}" presName="linearFlow" presStyleCnt="0">
        <dgm:presLayoutVars>
          <dgm:dir/>
          <dgm:animLvl val="lvl"/>
          <dgm:resizeHandles val="exact"/>
        </dgm:presLayoutVars>
      </dgm:prSet>
      <dgm:spPr/>
      <dgm:t>
        <a:bodyPr/>
        <a:lstStyle/>
        <a:p>
          <a:endParaRPr lang="en-US"/>
        </a:p>
      </dgm:t>
    </dgm:pt>
    <dgm:pt modelId="{A089C6D7-CC0C-43CC-8433-8C7E4EAA2E49}" type="pres">
      <dgm:prSet presAssocID="{416E506A-1814-4CBE-B4F4-9E2F0AC5EC09}" presName="composite" presStyleCnt="0"/>
      <dgm:spPr/>
    </dgm:pt>
    <dgm:pt modelId="{53A89DA4-63A0-4ED9-B20F-081E98BDF8DE}" type="pres">
      <dgm:prSet presAssocID="{416E506A-1814-4CBE-B4F4-9E2F0AC5EC09}" presName="parentText" presStyleLbl="alignNode1" presStyleIdx="0" presStyleCnt="4">
        <dgm:presLayoutVars>
          <dgm:chMax val="1"/>
          <dgm:bulletEnabled val="1"/>
        </dgm:presLayoutVars>
      </dgm:prSet>
      <dgm:spPr/>
      <dgm:t>
        <a:bodyPr/>
        <a:lstStyle/>
        <a:p>
          <a:endParaRPr lang="en-US"/>
        </a:p>
      </dgm:t>
    </dgm:pt>
    <dgm:pt modelId="{3EEA7799-2D37-469F-9052-A0DADE421F1E}" type="pres">
      <dgm:prSet presAssocID="{416E506A-1814-4CBE-B4F4-9E2F0AC5EC09}" presName="descendantText" presStyleLbl="alignAcc1" presStyleIdx="0" presStyleCnt="4">
        <dgm:presLayoutVars>
          <dgm:bulletEnabled val="1"/>
        </dgm:presLayoutVars>
      </dgm:prSet>
      <dgm:spPr/>
      <dgm:t>
        <a:bodyPr/>
        <a:lstStyle/>
        <a:p>
          <a:endParaRPr lang="en-US"/>
        </a:p>
      </dgm:t>
    </dgm:pt>
    <dgm:pt modelId="{EF6B0E51-36C5-4007-A592-78B6E8E559B3}" type="pres">
      <dgm:prSet presAssocID="{3B9C47B0-2BEA-4B67-9B72-C516ECEF7E3F}" presName="sp" presStyleCnt="0"/>
      <dgm:spPr/>
    </dgm:pt>
    <dgm:pt modelId="{2288D11F-7CDD-4001-992F-C2D1BE7A4403}" type="pres">
      <dgm:prSet presAssocID="{7F05B7FA-A0A8-4F47-BEFF-F2E280C52203}" presName="composite" presStyleCnt="0"/>
      <dgm:spPr/>
    </dgm:pt>
    <dgm:pt modelId="{5D20F5AA-9228-4F63-BA23-BF7BC402724B}" type="pres">
      <dgm:prSet presAssocID="{7F05B7FA-A0A8-4F47-BEFF-F2E280C52203}" presName="parentText" presStyleLbl="alignNode1" presStyleIdx="1" presStyleCnt="4">
        <dgm:presLayoutVars>
          <dgm:chMax val="1"/>
          <dgm:bulletEnabled val="1"/>
        </dgm:presLayoutVars>
      </dgm:prSet>
      <dgm:spPr/>
      <dgm:t>
        <a:bodyPr/>
        <a:lstStyle/>
        <a:p>
          <a:endParaRPr lang="en-US"/>
        </a:p>
      </dgm:t>
    </dgm:pt>
    <dgm:pt modelId="{8999689C-C04F-43F5-AFBD-299C2BE3A7FB}" type="pres">
      <dgm:prSet presAssocID="{7F05B7FA-A0A8-4F47-BEFF-F2E280C52203}" presName="descendantText" presStyleLbl="alignAcc1" presStyleIdx="1" presStyleCnt="4">
        <dgm:presLayoutVars>
          <dgm:bulletEnabled val="1"/>
        </dgm:presLayoutVars>
      </dgm:prSet>
      <dgm:spPr/>
      <dgm:t>
        <a:bodyPr/>
        <a:lstStyle/>
        <a:p>
          <a:endParaRPr lang="en-US"/>
        </a:p>
      </dgm:t>
    </dgm:pt>
    <dgm:pt modelId="{6B506073-22D2-4A1F-AD7E-A21FE9D6E907}" type="pres">
      <dgm:prSet presAssocID="{BF4291D9-2254-45A9-8187-A0E82CEC4F87}" presName="sp" presStyleCnt="0"/>
      <dgm:spPr/>
    </dgm:pt>
    <dgm:pt modelId="{1301B9E1-2D10-4F92-AC2F-9A2D12145699}" type="pres">
      <dgm:prSet presAssocID="{09E39090-9054-4C5A-BFFA-D57847DA2E27}" presName="composite" presStyleCnt="0"/>
      <dgm:spPr/>
    </dgm:pt>
    <dgm:pt modelId="{12E68D59-D4A0-4C5D-BE13-50A1E6BE38B2}" type="pres">
      <dgm:prSet presAssocID="{09E39090-9054-4C5A-BFFA-D57847DA2E27}" presName="parentText" presStyleLbl="alignNode1" presStyleIdx="2" presStyleCnt="4">
        <dgm:presLayoutVars>
          <dgm:chMax val="1"/>
          <dgm:bulletEnabled val="1"/>
        </dgm:presLayoutVars>
      </dgm:prSet>
      <dgm:spPr/>
      <dgm:t>
        <a:bodyPr/>
        <a:lstStyle/>
        <a:p>
          <a:endParaRPr lang="en-US"/>
        </a:p>
      </dgm:t>
    </dgm:pt>
    <dgm:pt modelId="{98871479-EB71-4715-9BA6-9E2F740E9A83}" type="pres">
      <dgm:prSet presAssocID="{09E39090-9054-4C5A-BFFA-D57847DA2E27}" presName="descendantText" presStyleLbl="alignAcc1" presStyleIdx="2" presStyleCnt="4">
        <dgm:presLayoutVars>
          <dgm:bulletEnabled val="1"/>
        </dgm:presLayoutVars>
      </dgm:prSet>
      <dgm:spPr/>
      <dgm:t>
        <a:bodyPr/>
        <a:lstStyle/>
        <a:p>
          <a:endParaRPr lang="en-US"/>
        </a:p>
      </dgm:t>
    </dgm:pt>
    <dgm:pt modelId="{C83EC89E-4B98-4FA8-B8DA-D9B40B4D9944}" type="pres">
      <dgm:prSet presAssocID="{844D8F35-EF36-4B93-B5FC-5841F566F39A}" presName="sp" presStyleCnt="0"/>
      <dgm:spPr/>
    </dgm:pt>
    <dgm:pt modelId="{AD6A6F06-75BD-49DC-A1EE-6670AC02303C}" type="pres">
      <dgm:prSet presAssocID="{31C6C46E-9A1A-47B7-B0E6-6D3EDA736122}" presName="composite" presStyleCnt="0"/>
      <dgm:spPr/>
    </dgm:pt>
    <dgm:pt modelId="{1B8D8D69-E341-421A-A53B-AE16ABA51741}" type="pres">
      <dgm:prSet presAssocID="{31C6C46E-9A1A-47B7-B0E6-6D3EDA736122}" presName="parentText" presStyleLbl="alignNode1" presStyleIdx="3" presStyleCnt="4">
        <dgm:presLayoutVars>
          <dgm:chMax val="1"/>
          <dgm:bulletEnabled val="1"/>
        </dgm:presLayoutVars>
      </dgm:prSet>
      <dgm:spPr/>
      <dgm:t>
        <a:bodyPr/>
        <a:lstStyle/>
        <a:p>
          <a:endParaRPr lang="en-US"/>
        </a:p>
      </dgm:t>
    </dgm:pt>
    <dgm:pt modelId="{79DA0F09-6894-4415-B173-63E53A5CB698}" type="pres">
      <dgm:prSet presAssocID="{31C6C46E-9A1A-47B7-B0E6-6D3EDA736122}" presName="descendantText" presStyleLbl="alignAcc1" presStyleIdx="3" presStyleCnt="4">
        <dgm:presLayoutVars>
          <dgm:bulletEnabled val="1"/>
        </dgm:presLayoutVars>
      </dgm:prSet>
      <dgm:spPr/>
      <dgm:t>
        <a:bodyPr/>
        <a:lstStyle/>
        <a:p>
          <a:endParaRPr lang="en-US"/>
        </a:p>
      </dgm:t>
    </dgm:pt>
  </dgm:ptLst>
  <dgm:cxnLst>
    <dgm:cxn modelId="{3B71EC67-7ADA-4988-B1DC-50E17E376F02}" srcId="{F1A2B3B5-5390-4AD4-8707-6DAFA2B0362C}" destId="{09E39090-9054-4C5A-BFFA-D57847DA2E27}" srcOrd="2" destOrd="0" parTransId="{F319F486-2272-476B-8B62-C0A4389DD9E0}" sibTransId="{844D8F35-EF36-4B93-B5FC-5841F566F39A}"/>
    <dgm:cxn modelId="{6BB10D54-C3E8-4CC8-B293-777A43BE70DC}" srcId="{31C6C46E-9A1A-47B7-B0E6-6D3EDA736122}" destId="{BC88E18E-EAEE-4D3B-A2AD-37BFDB07039A}" srcOrd="0" destOrd="0" parTransId="{B392D86E-54D6-4C70-8066-43024815D5C3}" sibTransId="{0938692B-71B8-4167-A064-E2E17840BFC7}"/>
    <dgm:cxn modelId="{21A5B693-9AEF-45B5-816A-5E9FA5BE00EE}" type="presOf" srcId="{09E39090-9054-4C5A-BFFA-D57847DA2E27}" destId="{12E68D59-D4A0-4C5D-BE13-50A1E6BE38B2}" srcOrd="0" destOrd="0" presId="urn:microsoft.com/office/officeart/2005/8/layout/chevron2"/>
    <dgm:cxn modelId="{A3E9A329-4664-4B5E-B14C-B9F8D510FC74}" type="presOf" srcId="{7F05B7FA-A0A8-4F47-BEFF-F2E280C52203}" destId="{5D20F5AA-9228-4F63-BA23-BF7BC402724B}" srcOrd="0" destOrd="0" presId="urn:microsoft.com/office/officeart/2005/8/layout/chevron2"/>
    <dgm:cxn modelId="{95297FBE-E60E-4C04-8C75-7F20F0750AB4}" type="presOf" srcId="{CBA94C8A-2333-4C74-9048-188E0E009DE0}" destId="{98871479-EB71-4715-9BA6-9E2F740E9A83}" srcOrd="0" destOrd="0" presId="urn:microsoft.com/office/officeart/2005/8/layout/chevron2"/>
    <dgm:cxn modelId="{EA0E9EE5-4177-4716-9886-AB72AC2D9452}" srcId="{F1A2B3B5-5390-4AD4-8707-6DAFA2B0362C}" destId="{416E506A-1814-4CBE-B4F4-9E2F0AC5EC09}" srcOrd="0" destOrd="0" parTransId="{D718FAC7-53C0-468D-8375-2A7536343575}" sibTransId="{3B9C47B0-2BEA-4B67-9B72-C516ECEF7E3F}"/>
    <dgm:cxn modelId="{A13BFCEB-00A6-42FC-8A81-DA05FB609B8B}" srcId="{416E506A-1814-4CBE-B4F4-9E2F0AC5EC09}" destId="{108C62C0-1BA2-49B5-A958-0C1F03F7040D}" srcOrd="0" destOrd="0" parTransId="{4F7E4A5E-6576-4D67-A2D7-1E04ABF27995}" sibTransId="{CD368D5A-2F92-4F0D-A2C8-909AB5010E8A}"/>
    <dgm:cxn modelId="{EA92684F-F3D2-47A0-A291-E660045A0582}" srcId="{F1A2B3B5-5390-4AD4-8707-6DAFA2B0362C}" destId="{31C6C46E-9A1A-47B7-B0E6-6D3EDA736122}" srcOrd="3" destOrd="0" parTransId="{51A6A0DD-10F9-4967-8921-208F820AE6F5}" sibTransId="{5B4420A8-CC82-4B88-A15E-8F9F9D4738FC}"/>
    <dgm:cxn modelId="{ECAF13E1-9913-446F-86CE-19FF89AA7A05}" type="presOf" srcId="{BC88E18E-EAEE-4D3B-A2AD-37BFDB07039A}" destId="{79DA0F09-6894-4415-B173-63E53A5CB698}" srcOrd="0" destOrd="0" presId="urn:microsoft.com/office/officeart/2005/8/layout/chevron2"/>
    <dgm:cxn modelId="{9A60A84B-61B4-45A9-981E-B5F7DE5C78A3}" srcId="{7F05B7FA-A0A8-4F47-BEFF-F2E280C52203}" destId="{759B8525-48D4-4A45-AE25-A80B6979D3CC}" srcOrd="0" destOrd="0" parTransId="{1ACD74A0-726C-4C33-B494-2BA6D0CB3D5D}" sibTransId="{4BAE3486-7032-481A-A3D6-856FEC1E5A3B}"/>
    <dgm:cxn modelId="{34B0F1F6-E238-436D-9A74-888937E4E9AF}" type="presOf" srcId="{31C6C46E-9A1A-47B7-B0E6-6D3EDA736122}" destId="{1B8D8D69-E341-421A-A53B-AE16ABA51741}" srcOrd="0" destOrd="0" presId="urn:microsoft.com/office/officeart/2005/8/layout/chevron2"/>
    <dgm:cxn modelId="{0BA903D6-8BC3-40C1-BEC7-A80EC25F0477}" type="presOf" srcId="{759B8525-48D4-4A45-AE25-A80B6979D3CC}" destId="{8999689C-C04F-43F5-AFBD-299C2BE3A7FB}" srcOrd="0" destOrd="0" presId="urn:microsoft.com/office/officeart/2005/8/layout/chevron2"/>
    <dgm:cxn modelId="{EF357AC7-D10E-4A34-B50F-CED196611022}" srcId="{F1A2B3B5-5390-4AD4-8707-6DAFA2B0362C}" destId="{7F05B7FA-A0A8-4F47-BEFF-F2E280C52203}" srcOrd="1" destOrd="0" parTransId="{1846351E-94B0-4454-98A0-D0579778E62E}" sibTransId="{BF4291D9-2254-45A9-8187-A0E82CEC4F87}"/>
    <dgm:cxn modelId="{8737A798-185A-4849-8911-8EBC5F43C41D}" srcId="{09E39090-9054-4C5A-BFFA-D57847DA2E27}" destId="{CBA94C8A-2333-4C74-9048-188E0E009DE0}" srcOrd="0" destOrd="0" parTransId="{110E836C-3C97-4BDD-BC34-BF30DF7B36D5}" sibTransId="{B80A3072-27AE-4FA5-94BD-CAAC48BDFCCB}"/>
    <dgm:cxn modelId="{8E1DB017-6FD3-4113-870C-16758CDAFA61}" type="presOf" srcId="{108C62C0-1BA2-49B5-A958-0C1F03F7040D}" destId="{3EEA7799-2D37-469F-9052-A0DADE421F1E}" srcOrd="0" destOrd="0" presId="urn:microsoft.com/office/officeart/2005/8/layout/chevron2"/>
    <dgm:cxn modelId="{71C7B278-7A6A-4ACF-B930-1BDAD372E2F3}" type="presOf" srcId="{F1A2B3B5-5390-4AD4-8707-6DAFA2B0362C}" destId="{6DDB8CD0-6F3D-4709-91ED-3874872EB471}" srcOrd="0" destOrd="0" presId="urn:microsoft.com/office/officeart/2005/8/layout/chevron2"/>
    <dgm:cxn modelId="{916E7D85-6510-41BA-9017-995C154A8BD1}" type="presOf" srcId="{416E506A-1814-4CBE-B4F4-9E2F0AC5EC09}" destId="{53A89DA4-63A0-4ED9-B20F-081E98BDF8DE}" srcOrd="0" destOrd="0" presId="urn:microsoft.com/office/officeart/2005/8/layout/chevron2"/>
    <dgm:cxn modelId="{C466CA35-8C0B-4986-89AA-B211664A7F67}" type="presParOf" srcId="{6DDB8CD0-6F3D-4709-91ED-3874872EB471}" destId="{A089C6D7-CC0C-43CC-8433-8C7E4EAA2E49}" srcOrd="0" destOrd="0" presId="urn:microsoft.com/office/officeart/2005/8/layout/chevron2"/>
    <dgm:cxn modelId="{2ECBFEB1-F92F-4FB4-AA0F-5B535404D598}" type="presParOf" srcId="{A089C6D7-CC0C-43CC-8433-8C7E4EAA2E49}" destId="{53A89DA4-63A0-4ED9-B20F-081E98BDF8DE}" srcOrd="0" destOrd="0" presId="urn:microsoft.com/office/officeart/2005/8/layout/chevron2"/>
    <dgm:cxn modelId="{45C049E2-0CF9-4E18-B3C1-B05D78AD12A3}" type="presParOf" srcId="{A089C6D7-CC0C-43CC-8433-8C7E4EAA2E49}" destId="{3EEA7799-2D37-469F-9052-A0DADE421F1E}" srcOrd="1" destOrd="0" presId="urn:microsoft.com/office/officeart/2005/8/layout/chevron2"/>
    <dgm:cxn modelId="{304BFD3C-7BD0-481E-B8B6-897C7B1FDD83}" type="presParOf" srcId="{6DDB8CD0-6F3D-4709-91ED-3874872EB471}" destId="{EF6B0E51-36C5-4007-A592-78B6E8E559B3}" srcOrd="1" destOrd="0" presId="urn:microsoft.com/office/officeart/2005/8/layout/chevron2"/>
    <dgm:cxn modelId="{ACEBA040-C026-46EC-8041-64B6B596829F}" type="presParOf" srcId="{6DDB8CD0-6F3D-4709-91ED-3874872EB471}" destId="{2288D11F-7CDD-4001-992F-C2D1BE7A4403}" srcOrd="2" destOrd="0" presId="urn:microsoft.com/office/officeart/2005/8/layout/chevron2"/>
    <dgm:cxn modelId="{35C37E61-E953-4662-9EE4-8E5C1B10908B}" type="presParOf" srcId="{2288D11F-7CDD-4001-992F-C2D1BE7A4403}" destId="{5D20F5AA-9228-4F63-BA23-BF7BC402724B}" srcOrd="0" destOrd="0" presId="urn:microsoft.com/office/officeart/2005/8/layout/chevron2"/>
    <dgm:cxn modelId="{6C9817A6-2372-42F4-BA23-5E66C2DD008B}" type="presParOf" srcId="{2288D11F-7CDD-4001-992F-C2D1BE7A4403}" destId="{8999689C-C04F-43F5-AFBD-299C2BE3A7FB}" srcOrd="1" destOrd="0" presId="urn:microsoft.com/office/officeart/2005/8/layout/chevron2"/>
    <dgm:cxn modelId="{76C0721C-FC44-4DB3-9C33-0F369408DEC1}" type="presParOf" srcId="{6DDB8CD0-6F3D-4709-91ED-3874872EB471}" destId="{6B506073-22D2-4A1F-AD7E-A21FE9D6E907}" srcOrd="3" destOrd="0" presId="urn:microsoft.com/office/officeart/2005/8/layout/chevron2"/>
    <dgm:cxn modelId="{676122D7-5B1A-4473-AB9C-64BC34E10AD3}" type="presParOf" srcId="{6DDB8CD0-6F3D-4709-91ED-3874872EB471}" destId="{1301B9E1-2D10-4F92-AC2F-9A2D12145699}" srcOrd="4" destOrd="0" presId="urn:microsoft.com/office/officeart/2005/8/layout/chevron2"/>
    <dgm:cxn modelId="{3673B15B-ECCF-4F82-ABD4-D6741D07E54D}" type="presParOf" srcId="{1301B9E1-2D10-4F92-AC2F-9A2D12145699}" destId="{12E68D59-D4A0-4C5D-BE13-50A1E6BE38B2}" srcOrd="0" destOrd="0" presId="urn:microsoft.com/office/officeart/2005/8/layout/chevron2"/>
    <dgm:cxn modelId="{7D6D3980-15CD-4050-9980-A2F6EBED442F}" type="presParOf" srcId="{1301B9E1-2D10-4F92-AC2F-9A2D12145699}" destId="{98871479-EB71-4715-9BA6-9E2F740E9A83}" srcOrd="1" destOrd="0" presId="urn:microsoft.com/office/officeart/2005/8/layout/chevron2"/>
    <dgm:cxn modelId="{989AAE55-5080-4378-A0AD-854D83639D80}" type="presParOf" srcId="{6DDB8CD0-6F3D-4709-91ED-3874872EB471}" destId="{C83EC89E-4B98-4FA8-B8DA-D9B40B4D9944}" srcOrd="5" destOrd="0" presId="urn:microsoft.com/office/officeart/2005/8/layout/chevron2"/>
    <dgm:cxn modelId="{1AA0A71E-DD26-41B6-A0C1-8B3F56E22957}" type="presParOf" srcId="{6DDB8CD0-6F3D-4709-91ED-3874872EB471}" destId="{AD6A6F06-75BD-49DC-A1EE-6670AC02303C}" srcOrd="6" destOrd="0" presId="urn:microsoft.com/office/officeart/2005/8/layout/chevron2"/>
    <dgm:cxn modelId="{229492DC-6AC3-45C4-A173-7E631C41BD66}" type="presParOf" srcId="{AD6A6F06-75BD-49DC-A1EE-6670AC02303C}" destId="{1B8D8D69-E341-421A-A53B-AE16ABA51741}" srcOrd="0" destOrd="0" presId="urn:microsoft.com/office/officeart/2005/8/layout/chevron2"/>
    <dgm:cxn modelId="{53FA1CFC-F11D-4E83-AD83-0F1F9AAC5872}" type="presParOf" srcId="{AD6A6F06-75BD-49DC-A1EE-6670AC02303C}" destId="{79DA0F09-6894-4415-B173-63E53A5CB69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chemeClr val="bg1">
            <a:lumMod val="50000"/>
            <a:alpha val="49804"/>
          </a:schemeClr>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chemeClr val="bg1">
            <a:lumMod val="50000"/>
            <a:alpha val="50196"/>
          </a:schemeClr>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chemeClr val="bg1">
            <a:lumMod val="50000"/>
            <a:alpha val="50196"/>
          </a:schemeClr>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chemeClr val="bg1">
            <a:lumMod val="50000"/>
            <a:alpha val="50196"/>
          </a:schemeClr>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chemeClr val="bg1">
            <a:lumMod val="50000"/>
            <a:alpha val="50196"/>
          </a:schemeClr>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chemeClr val="bg1">
            <a:lumMod val="50000"/>
            <a:alpha val="50196"/>
          </a:schemeClr>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solidFill>
          <a:srgbClr val="2E75B6"/>
        </a:soli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3E78E809-FB87-471C-92D7-164EB9D4F6A1}" type="presOf" srcId="{626C66CD-664C-4CA9-9020-B8D6763AE2FD}" destId="{D79C9E3A-AD33-4FF1-AFAE-6CA861113F40}" srcOrd="0" destOrd="0" presId="urn:microsoft.com/office/officeart/2005/8/layout/chevron1"/>
    <dgm:cxn modelId="{5D3ED415-3E9B-4303-AF35-AE0640B6F977}" type="presOf" srcId="{291C0FC7-AB24-426F-95D5-FCAF7D733561}" destId="{5F3D77F7-2117-4310-82D6-CC46973B96CE}"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451E418A-62C7-41A2-98A4-15F8A1CFA25F}" type="presOf" srcId="{4F4BE03B-5823-4BC9-90E7-5574EACE09E5}" destId="{B1F183C7-4128-441B-9040-CEC245AAA671}" srcOrd="0" destOrd="0" presId="urn:microsoft.com/office/officeart/2005/8/layout/chevron1"/>
    <dgm:cxn modelId="{E988FFFA-7062-4543-8FB2-D5B272CA2B2E}" type="presOf" srcId="{B2D8824F-FCA3-40D3-ADF0-216360405402}" destId="{48DB6C72-9476-46A8-A7B1-362834A04659}"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773A4286-A1D9-4AEE-B864-6D222B3F26E8}" type="presOf" srcId="{D3E32C3F-8B1E-4470-AE4B-AF7542F719A6}" destId="{9101A43E-9FA8-44D0-8B4B-B43A17F0B301}" srcOrd="0" destOrd="0" presId="urn:microsoft.com/office/officeart/2005/8/layout/chevron1"/>
    <dgm:cxn modelId="{31C9F156-F93D-411F-8F69-98FDD334C718}" type="presOf" srcId="{152C0CFE-894B-4DCD-9C91-F961733C6C8A}" destId="{8A2BE7DB-4C89-4154-B8EA-CABB8FBA3A4D}" srcOrd="0" destOrd="0" presId="urn:microsoft.com/office/officeart/2005/8/layout/chevron1"/>
    <dgm:cxn modelId="{23B3D58B-4907-4028-8D20-304BF05A87FB}"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C07F6363-7C05-473C-BF84-FF85EAE6592D}" type="presOf" srcId="{85014035-4376-41F7-B98E-7A3EC9856736}" destId="{E59A3AA1-4456-482F-A514-10BC3E030511}"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AC9CEC64-EA0D-4133-A700-AF128795521F}" type="presOf" srcId="{A394F2A2-CD30-43D3-B564-20AF0C1BCDE0}" destId="{4DB2B4C5-616C-405E-B54B-EC90D8032080}" srcOrd="0" destOrd="0" presId="urn:microsoft.com/office/officeart/2005/8/layout/chevron1"/>
    <dgm:cxn modelId="{95BA1FF8-0F10-487C-8A0D-5460DBEED190}" type="presOf" srcId="{7C140BA5-61A2-4C44-8F2C-83C38D316D75}" destId="{66CDB625-3567-480B-96DE-D9D9D01967F2}"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ED00041B-47F8-49DF-B6CC-ECBE8395A1DF}" type="presParOf" srcId="{E59A3AA1-4456-482F-A514-10BC3E030511}" destId="{66CDB625-3567-480B-96DE-D9D9D01967F2}" srcOrd="0" destOrd="0" presId="urn:microsoft.com/office/officeart/2005/8/layout/chevron1"/>
    <dgm:cxn modelId="{16225616-38A3-49A3-9F72-3C4BB9034F0F}" type="presParOf" srcId="{E59A3AA1-4456-482F-A514-10BC3E030511}" destId="{E69D944D-B787-42EF-A817-E7A1749D8736}" srcOrd="1" destOrd="0" presId="urn:microsoft.com/office/officeart/2005/8/layout/chevron1"/>
    <dgm:cxn modelId="{FFAFBD0F-7F9A-4190-ADAC-7B6F41F72CDA}" type="presParOf" srcId="{E59A3AA1-4456-482F-A514-10BC3E030511}" destId="{4DB2B4C5-616C-405E-B54B-EC90D8032080}" srcOrd="2" destOrd="0" presId="urn:microsoft.com/office/officeart/2005/8/layout/chevron1"/>
    <dgm:cxn modelId="{4D9EE81F-C85A-48E2-9FA9-72C07DE80E27}" type="presParOf" srcId="{E59A3AA1-4456-482F-A514-10BC3E030511}" destId="{7DA42B1B-26D5-4E6A-878A-49EBD2B2C1FF}" srcOrd="3" destOrd="0" presId="urn:microsoft.com/office/officeart/2005/8/layout/chevron1"/>
    <dgm:cxn modelId="{7EA9B4E0-FFFD-429E-A5C8-5A9803588A55}" type="presParOf" srcId="{E59A3AA1-4456-482F-A514-10BC3E030511}" destId="{8A2BE7DB-4C89-4154-B8EA-CABB8FBA3A4D}" srcOrd="4" destOrd="0" presId="urn:microsoft.com/office/officeart/2005/8/layout/chevron1"/>
    <dgm:cxn modelId="{449A0DE1-AB23-4C70-992E-95A33EC9F598}" type="presParOf" srcId="{E59A3AA1-4456-482F-A514-10BC3E030511}" destId="{9FB0C3C1-B3A4-4406-AA3E-E68647A3DA67}" srcOrd="5" destOrd="0" presId="urn:microsoft.com/office/officeart/2005/8/layout/chevron1"/>
    <dgm:cxn modelId="{A5B773EA-6A97-4BD1-8A65-FB21AEA030CC}" type="presParOf" srcId="{E59A3AA1-4456-482F-A514-10BC3E030511}" destId="{9101A43E-9FA8-44D0-8B4B-B43A17F0B301}" srcOrd="6" destOrd="0" presId="urn:microsoft.com/office/officeart/2005/8/layout/chevron1"/>
    <dgm:cxn modelId="{FFA44286-D599-4D28-B0B7-4D5B81FAFA78}" type="presParOf" srcId="{E59A3AA1-4456-482F-A514-10BC3E030511}" destId="{C0DF1FFC-718C-41AA-B1B4-399BF34A0C85}" srcOrd="7" destOrd="0" presId="urn:microsoft.com/office/officeart/2005/8/layout/chevron1"/>
    <dgm:cxn modelId="{CB8E2E35-DA84-4E7E-A9C7-70BB2606E0AE}" type="presParOf" srcId="{E59A3AA1-4456-482F-A514-10BC3E030511}" destId="{D79C9E3A-AD33-4FF1-AFAE-6CA861113F40}" srcOrd="8" destOrd="0" presId="urn:microsoft.com/office/officeart/2005/8/layout/chevron1"/>
    <dgm:cxn modelId="{0287370B-DA8D-4769-A228-83E9EA378E7C}" type="presParOf" srcId="{E59A3AA1-4456-482F-A514-10BC3E030511}" destId="{DC91B037-C717-4289-AE40-B313064DA6EB}" srcOrd="9" destOrd="0" presId="urn:microsoft.com/office/officeart/2005/8/layout/chevron1"/>
    <dgm:cxn modelId="{A14E5E3D-A6A3-47F9-B6B7-AA37FE604244}" type="presParOf" srcId="{E59A3AA1-4456-482F-A514-10BC3E030511}" destId="{48DB6C72-9476-46A8-A7B1-362834A04659}" srcOrd="10" destOrd="0" presId="urn:microsoft.com/office/officeart/2005/8/layout/chevron1"/>
    <dgm:cxn modelId="{EB229C17-23C5-4471-853F-9ED715BDB3D1}" type="presParOf" srcId="{E59A3AA1-4456-482F-A514-10BC3E030511}" destId="{73C3018A-3BCF-4F84-94F0-C1E38A294445}" srcOrd="11" destOrd="0" presId="urn:microsoft.com/office/officeart/2005/8/layout/chevron1"/>
    <dgm:cxn modelId="{24B6A6DC-DDB5-4DF8-9FB3-5186AAADC322}" type="presParOf" srcId="{E59A3AA1-4456-482F-A514-10BC3E030511}" destId="{B1F183C7-4128-441B-9040-CEC245AAA671}" srcOrd="12" destOrd="0" presId="urn:microsoft.com/office/officeart/2005/8/layout/chevron1"/>
    <dgm:cxn modelId="{0F704666-31CB-4DAF-834A-206CBB92BD9B}" type="presParOf" srcId="{E59A3AA1-4456-482F-A514-10BC3E030511}" destId="{8B966912-F62C-4DB4-9741-03C78CA48121}" srcOrd="13" destOrd="0" presId="urn:microsoft.com/office/officeart/2005/8/layout/chevron1"/>
    <dgm:cxn modelId="{15524022-5966-417F-A04D-136F2E84A896}" type="presParOf" srcId="{E59A3AA1-4456-482F-A514-10BC3E030511}" destId="{5F3D77F7-2117-4310-82D6-CC46973B96CE}" srcOrd="14" destOrd="0" presId="urn:microsoft.com/office/officeart/2005/8/layout/chevron1"/>
    <dgm:cxn modelId="{17065212-D1AB-4F44-B19C-8FBB1831AFCC}" type="presParOf" srcId="{E59A3AA1-4456-482F-A514-10BC3E030511}" destId="{F6A0359B-3FA6-4B4A-90B3-02DF2DDF0B4E}" srcOrd="15" destOrd="0" presId="urn:microsoft.com/office/officeart/2005/8/layout/chevron1"/>
    <dgm:cxn modelId="{BB2AEDB9-1A86-4A85-843B-4EBED5A16A0B}"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6B9EE3-E95D-4D7A-90A1-66CAB81C0BB4}">
      <dsp:nvSpPr>
        <dsp:cNvPr id="0" name=""/>
        <dsp:cNvSpPr/>
      </dsp:nvSpPr>
      <dsp:spPr>
        <a:xfrm>
          <a:off x="0" y="270933"/>
          <a:ext cx="4876800" cy="4876800"/>
        </a:xfrm>
        <a:prstGeom prst="pie">
          <a:avLst>
            <a:gd name="adj1" fmla="val 5400000"/>
            <a:gd name="adj2" fmla="val 16200000"/>
          </a:avLst>
        </a:prstGeom>
        <a:gradFill rotWithShape="0">
          <a:gsLst>
            <a:gs pos="0">
              <a:schemeClr val="accent2">
                <a:shade val="80000"/>
                <a:hueOff val="0"/>
                <a:satOff val="0"/>
                <a:lumOff val="0"/>
                <a:alphaOff val="0"/>
                <a:satMod val="103000"/>
                <a:lumMod val="102000"/>
                <a:tint val="94000"/>
              </a:schemeClr>
            </a:gs>
            <a:gs pos="50000">
              <a:schemeClr val="accent2">
                <a:shade val="80000"/>
                <a:hueOff val="0"/>
                <a:satOff val="0"/>
                <a:lumOff val="0"/>
                <a:alphaOff val="0"/>
                <a:satMod val="110000"/>
                <a:lumMod val="100000"/>
                <a:shade val="100000"/>
              </a:schemeClr>
            </a:gs>
            <a:gs pos="100000">
              <a:schemeClr val="accent2">
                <a:shade val="8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103FCC06-210A-4091-B215-AA188DC41420}">
      <dsp:nvSpPr>
        <dsp:cNvPr id="0" name=""/>
        <dsp:cNvSpPr/>
      </dsp:nvSpPr>
      <dsp:spPr>
        <a:xfrm>
          <a:off x="2438400" y="270933"/>
          <a:ext cx="5689599" cy="4876800"/>
        </a:xfrm>
        <a:prstGeom prst="rect">
          <a:avLst/>
        </a:prstGeom>
        <a:solidFill>
          <a:schemeClr val="lt1">
            <a:alpha val="90000"/>
            <a:hueOff val="0"/>
            <a:satOff val="0"/>
            <a:lumOff val="0"/>
            <a:alphaOff val="0"/>
          </a:schemeClr>
        </a:solidFill>
        <a:ln w="6350" cap="flat" cmpd="sng" algn="ctr">
          <a:solidFill>
            <a:schemeClr val="accent2">
              <a:shade val="80000"/>
              <a:hueOff val="0"/>
              <a:satOff val="0"/>
              <a:lumOff val="0"/>
              <a:alphaOff val="0"/>
            </a:schemeClr>
          </a:solidFill>
          <a:prstDash val="solid"/>
          <a:miter lim="800000"/>
        </a:ln>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r>
            <a:rPr lang="en-US" sz="4800" kern="1200" dirty="0" smtClean="0">
              <a:solidFill>
                <a:schemeClr val="accent2"/>
              </a:solidFill>
            </a:rPr>
            <a:t>WHY</a:t>
          </a:r>
          <a:endParaRPr lang="en-US" sz="4800" kern="1200" dirty="0">
            <a:solidFill>
              <a:schemeClr val="accent2"/>
            </a:solidFill>
          </a:endParaRPr>
        </a:p>
      </dsp:txBody>
      <dsp:txXfrm>
        <a:off x="2438400" y="270933"/>
        <a:ext cx="2844799" cy="1036319"/>
      </dsp:txXfrm>
    </dsp:sp>
    <dsp:sp modelId="{1574C18B-046A-4134-9478-6434EB41FFE2}">
      <dsp:nvSpPr>
        <dsp:cNvPr id="0" name=""/>
        <dsp:cNvSpPr/>
      </dsp:nvSpPr>
      <dsp:spPr>
        <a:xfrm>
          <a:off x="640079" y="1307253"/>
          <a:ext cx="3596640" cy="3596640"/>
        </a:xfrm>
        <a:prstGeom prst="pie">
          <a:avLst>
            <a:gd name="adj1" fmla="val 5400000"/>
            <a:gd name="adj2" fmla="val 16200000"/>
          </a:avLst>
        </a:prstGeom>
        <a:gradFill rotWithShape="0">
          <a:gsLst>
            <a:gs pos="0">
              <a:schemeClr val="accent2">
                <a:shade val="80000"/>
                <a:hueOff val="240977"/>
                <a:satOff val="-26103"/>
                <a:lumOff val="13439"/>
                <a:alphaOff val="0"/>
                <a:satMod val="103000"/>
                <a:lumMod val="102000"/>
                <a:tint val="94000"/>
              </a:schemeClr>
            </a:gs>
            <a:gs pos="50000">
              <a:schemeClr val="accent2">
                <a:shade val="80000"/>
                <a:hueOff val="240977"/>
                <a:satOff val="-26103"/>
                <a:lumOff val="13439"/>
                <a:alphaOff val="0"/>
                <a:satMod val="110000"/>
                <a:lumMod val="100000"/>
                <a:shade val="100000"/>
              </a:schemeClr>
            </a:gs>
            <a:gs pos="100000">
              <a:schemeClr val="accent2">
                <a:shade val="80000"/>
                <a:hueOff val="240977"/>
                <a:satOff val="-26103"/>
                <a:lumOff val="13439"/>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C1F2DB7A-173E-437E-B5EF-D3BA83F5FD56}">
      <dsp:nvSpPr>
        <dsp:cNvPr id="0" name=""/>
        <dsp:cNvSpPr/>
      </dsp:nvSpPr>
      <dsp:spPr>
        <a:xfrm>
          <a:off x="2438400" y="1307253"/>
          <a:ext cx="5689599" cy="3596640"/>
        </a:xfrm>
        <a:prstGeom prst="rect">
          <a:avLst/>
        </a:prstGeom>
        <a:solidFill>
          <a:schemeClr val="lt1">
            <a:alpha val="90000"/>
            <a:hueOff val="0"/>
            <a:satOff val="0"/>
            <a:lumOff val="0"/>
            <a:alphaOff val="0"/>
          </a:schemeClr>
        </a:solidFill>
        <a:ln w="6350" cap="flat" cmpd="sng" algn="ctr">
          <a:solidFill>
            <a:schemeClr val="accent2">
              <a:shade val="80000"/>
              <a:hueOff val="240977"/>
              <a:satOff val="-26103"/>
              <a:lumOff val="13439"/>
              <a:alphaOff val="0"/>
            </a:schemeClr>
          </a:solidFill>
          <a:prstDash val="solid"/>
          <a:miter lim="800000"/>
        </a:ln>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r>
            <a:rPr lang="en-US" sz="4800" kern="1200" dirty="0" smtClean="0">
              <a:solidFill>
                <a:schemeClr val="accent2"/>
              </a:solidFill>
            </a:rPr>
            <a:t>WHAT</a:t>
          </a:r>
          <a:endParaRPr lang="en-US" sz="4800" kern="1200" dirty="0">
            <a:solidFill>
              <a:schemeClr val="accent2"/>
            </a:solidFill>
          </a:endParaRPr>
        </a:p>
      </dsp:txBody>
      <dsp:txXfrm>
        <a:off x="2438400" y="1307253"/>
        <a:ext cx="2844799" cy="1036320"/>
      </dsp:txXfrm>
    </dsp:sp>
    <dsp:sp modelId="{B42CF06B-22B1-41C9-93AC-0C673E4CA534}">
      <dsp:nvSpPr>
        <dsp:cNvPr id="0" name=""/>
        <dsp:cNvSpPr/>
      </dsp:nvSpPr>
      <dsp:spPr>
        <a:xfrm>
          <a:off x="1280160" y="2343573"/>
          <a:ext cx="2316480" cy="2316480"/>
        </a:xfrm>
        <a:prstGeom prst="pie">
          <a:avLst>
            <a:gd name="adj1" fmla="val 5400000"/>
            <a:gd name="adj2" fmla="val 16200000"/>
          </a:avLst>
        </a:prstGeom>
        <a:gradFill rotWithShape="0">
          <a:gsLst>
            <a:gs pos="0">
              <a:schemeClr val="accent2">
                <a:shade val="80000"/>
                <a:hueOff val="481955"/>
                <a:satOff val="-52205"/>
                <a:lumOff val="26879"/>
                <a:alphaOff val="0"/>
                <a:satMod val="103000"/>
                <a:lumMod val="102000"/>
                <a:tint val="94000"/>
              </a:schemeClr>
            </a:gs>
            <a:gs pos="50000">
              <a:schemeClr val="accent2">
                <a:shade val="80000"/>
                <a:hueOff val="481955"/>
                <a:satOff val="-52205"/>
                <a:lumOff val="26879"/>
                <a:alphaOff val="0"/>
                <a:satMod val="110000"/>
                <a:lumMod val="100000"/>
                <a:shade val="100000"/>
              </a:schemeClr>
            </a:gs>
            <a:gs pos="100000">
              <a:schemeClr val="accent2">
                <a:shade val="80000"/>
                <a:hueOff val="481955"/>
                <a:satOff val="-52205"/>
                <a:lumOff val="26879"/>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4E044F43-B374-4DE1-8001-6FF5DBB98984}">
      <dsp:nvSpPr>
        <dsp:cNvPr id="0" name=""/>
        <dsp:cNvSpPr/>
      </dsp:nvSpPr>
      <dsp:spPr>
        <a:xfrm>
          <a:off x="2438400" y="2343573"/>
          <a:ext cx="5689599" cy="2316480"/>
        </a:xfrm>
        <a:prstGeom prst="rect">
          <a:avLst/>
        </a:prstGeom>
        <a:solidFill>
          <a:schemeClr val="lt1">
            <a:alpha val="90000"/>
            <a:hueOff val="0"/>
            <a:satOff val="0"/>
            <a:lumOff val="0"/>
            <a:alphaOff val="0"/>
          </a:schemeClr>
        </a:solidFill>
        <a:ln w="6350" cap="flat" cmpd="sng" algn="ctr">
          <a:solidFill>
            <a:schemeClr val="accent2">
              <a:shade val="80000"/>
              <a:hueOff val="481955"/>
              <a:satOff val="-52205"/>
              <a:lumOff val="26879"/>
              <a:alphaOff val="0"/>
            </a:schemeClr>
          </a:solidFill>
          <a:prstDash val="solid"/>
          <a:miter lim="800000"/>
        </a:ln>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r>
            <a:rPr lang="en-US" sz="4800" kern="1200" dirty="0" smtClean="0">
              <a:solidFill>
                <a:schemeClr val="accent2"/>
              </a:solidFill>
            </a:rPr>
            <a:t>HOW</a:t>
          </a:r>
          <a:endParaRPr lang="en-US" sz="4800" kern="1200" dirty="0">
            <a:solidFill>
              <a:schemeClr val="accent2"/>
            </a:solidFill>
          </a:endParaRPr>
        </a:p>
      </dsp:txBody>
      <dsp:txXfrm>
        <a:off x="2438400" y="2343573"/>
        <a:ext cx="2844799" cy="1036319"/>
      </dsp:txXfrm>
    </dsp:sp>
    <dsp:sp modelId="{32CB3AA1-1CDC-4D46-9469-325E67AFD2EE}">
      <dsp:nvSpPr>
        <dsp:cNvPr id="0" name=""/>
        <dsp:cNvSpPr/>
      </dsp:nvSpPr>
      <dsp:spPr>
        <a:xfrm>
          <a:off x="1920240" y="3379893"/>
          <a:ext cx="1036320" cy="1036320"/>
        </a:xfrm>
        <a:prstGeom prst="pie">
          <a:avLst>
            <a:gd name="adj1" fmla="val 5400000"/>
            <a:gd name="adj2" fmla="val 16200000"/>
          </a:avLst>
        </a:prstGeom>
        <a:gradFill rotWithShape="0">
          <a:gsLst>
            <a:gs pos="0">
              <a:schemeClr val="accent2">
                <a:shade val="80000"/>
                <a:hueOff val="722932"/>
                <a:satOff val="-78308"/>
                <a:lumOff val="40318"/>
                <a:alphaOff val="0"/>
                <a:satMod val="103000"/>
                <a:lumMod val="102000"/>
                <a:tint val="94000"/>
              </a:schemeClr>
            </a:gs>
            <a:gs pos="50000">
              <a:schemeClr val="accent2">
                <a:shade val="80000"/>
                <a:hueOff val="722932"/>
                <a:satOff val="-78308"/>
                <a:lumOff val="40318"/>
                <a:alphaOff val="0"/>
                <a:satMod val="110000"/>
                <a:lumMod val="100000"/>
                <a:shade val="100000"/>
              </a:schemeClr>
            </a:gs>
            <a:gs pos="100000">
              <a:schemeClr val="accent2">
                <a:shade val="80000"/>
                <a:hueOff val="722932"/>
                <a:satOff val="-78308"/>
                <a:lumOff val="40318"/>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6C63AC14-8BED-43B3-8C2E-BF08FB985070}">
      <dsp:nvSpPr>
        <dsp:cNvPr id="0" name=""/>
        <dsp:cNvSpPr/>
      </dsp:nvSpPr>
      <dsp:spPr>
        <a:xfrm>
          <a:off x="2438400" y="3379893"/>
          <a:ext cx="5689599" cy="1036320"/>
        </a:xfrm>
        <a:prstGeom prst="rect">
          <a:avLst/>
        </a:prstGeom>
        <a:solidFill>
          <a:schemeClr val="lt1">
            <a:alpha val="90000"/>
            <a:hueOff val="0"/>
            <a:satOff val="0"/>
            <a:lumOff val="0"/>
            <a:alphaOff val="0"/>
          </a:schemeClr>
        </a:solidFill>
        <a:ln w="6350" cap="flat" cmpd="sng" algn="ctr">
          <a:solidFill>
            <a:schemeClr val="accent2">
              <a:shade val="80000"/>
              <a:hueOff val="722932"/>
              <a:satOff val="-78308"/>
              <a:lumOff val="40318"/>
              <a:alphaOff val="0"/>
            </a:schemeClr>
          </a:solidFill>
          <a:prstDash val="solid"/>
          <a:miter lim="800000"/>
        </a:ln>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r>
            <a:rPr lang="en-US" sz="4800" kern="1200" dirty="0" smtClean="0">
              <a:solidFill>
                <a:schemeClr val="accent2"/>
              </a:solidFill>
            </a:rPr>
            <a:t>APPLY</a:t>
          </a:r>
          <a:endParaRPr lang="en-US" sz="4800" kern="1200" dirty="0">
            <a:solidFill>
              <a:schemeClr val="accent2"/>
            </a:solidFill>
          </a:endParaRPr>
        </a:p>
      </dsp:txBody>
      <dsp:txXfrm>
        <a:off x="2438400" y="3379893"/>
        <a:ext cx="2844799" cy="1036320"/>
      </dsp:txXfrm>
    </dsp:sp>
    <dsp:sp modelId="{908F8CA7-C2BD-4E3E-88B6-321D3F994D64}">
      <dsp:nvSpPr>
        <dsp:cNvPr id="0" name=""/>
        <dsp:cNvSpPr/>
      </dsp:nvSpPr>
      <dsp:spPr>
        <a:xfrm>
          <a:off x="5283200" y="270933"/>
          <a:ext cx="2844799" cy="1036319"/>
        </a:xfrm>
        <a:prstGeom prst="rect">
          <a:avLst/>
        </a:prstGeom>
        <a:noFill/>
        <a:ln w="6350" cap="flat" cmpd="sng" algn="ctr">
          <a:noFill/>
          <a:prstDash val="solid"/>
          <a:miter lim="800000"/>
        </a:ln>
        <a:effectLst/>
        <a:scene3d>
          <a:camera prst="orthographicFront"/>
          <a:lightRig rig="threePt" dir="t">
            <a:rot lat="0" lon="0" rev="7500000"/>
          </a:lightRig>
        </a:scene3d>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solidFill>
                <a:schemeClr val="accent2"/>
              </a:solidFill>
            </a:rPr>
            <a:t>It is important to master new knowledge and skills</a:t>
          </a:r>
          <a:endParaRPr lang="en-US" sz="2000" kern="1200" dirty="0">
            <a:solidFill>
              <a:schemeClr val="accent2"/>
            </a:solidFill>
          </a:endParaRPr>
        </a:p>
      </dsp:txBody>
      <dsp:txXfrm>
        <a:off x="5283200" y="270933"/>
        <a:ext cx="2844799" cy="1036319"/>
      </dsp:txXfrm>
    </dsp:sp>
    <dsp:sp modelId="{1E295106-F712-45CC-A450-CD8CB7570618}">
      <dsp:nvSpPr>
        <dsp:cNvPr id="0" name=""/>
        <dsp:cNvSpPr/>
      </dsp:nvSpPr>
      <dsp:spPr>
        <a:xfrm>
          <a:off x="5283200" y="1307253"/>
          <a:ext cx="2844799" cy="1036320"/>
        </a:xfrm>
        <a:prstGeom prst="rect">
          <a:avLst/>
        </a:prstGeom>
        <a:noFill/>
        <a:ln w="6350" cap="flat" cmpd="sng" algn="ctr">
          <a:noFill/>
          <a:prstDash val="solid"/>
          <a:miter lim="800000"/>
        </a:ln>
        <a:effectLst/>
        <a:scene3d>
          <a:camera prst="orthographicFront"/>
          <a:lightRig rig="threePt" dir="t">
            <a:rot lat="0" lon="0" rev="7500000"/>
          </a:lightRig>
        </a:scene3d>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solidFill>
                <a:schemeClr val="accent2"/>
              </a:solidFill>
            </a:rPr>
            <a:t>Do I need to know, do and believe </a:t>
          </a:r>
          <a:endParaRPr lang="en-US" sz="2000" kern="1200" dirty="0">
            <a:solidFill>
              <a:schemeClr val="accent2"/>
            </a:solidFill>
          </a:endParaRPr>
        </a:p>
      </dsp:txBody>
      <dsp:txXfrm>
        <a:off x="5283200" y="1307253"/>
        <a:ext cx="2844799" cy="1036320"/>
      </dsp:txXfrm>
    </dsp:sp>
    <dsp:sp modelId="{1AAECC49-D021-45F8-B7C5-06A7EB15FBB4}">
      <dsp:nvSpPr>
        <dsp:cNvPr id="0" name=""/>
        <dsp:cNvSpPr/>
      </dsp:nvSpPr>
      <dsp:spPr>
        <a:xfrm>
          <a:off x="5283200" y="2343573"/>
          <a:ext cx="2844799" cy="1036319"/>
        </a:xfrm>
        <a:prstGeom prst="rect">
          <a:avLst/>
        </a:prstGeom>
        <a:noFill/>
        <a:ln w="6350" cap="flat" cmpd="sng" algn="ctr">
          <a:noFill/>
          <a:prstDash val="solid"/>
          <a:miter lim="800000"/>
        </a:ln>
        <a:effectLst/>
        <a:scene3d>
          <a:camera prst="orthographicFront"/>
          <a:lightRig rig="threePt" dir="t">
            <a:rot lat="0" lon="0" rev="7500000"/>
          </a:lightRig>
        </a:scene3d>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solidFill>
                <a:schemeClr val="accent2"/>
              </a:solidFill>
            </a:rPr>
            <a:t>To change behavior and do things</a:t>
          </a:r>
          <a:endParaRPr lang="en-US" sz="2000" kern="1200" dirty="0">
            <a:solidFill>
              <a:schemeClr val="accent2"/>
            </a:solidFill>
          </a:endParaRPr>
        </a:p>
      </dsp:txBody>
      <dsp:txXfrm>
        <a:off x="5283200" y="2343573"/>
        <a:ext cx="2844799" cy="1036319"/>
      </dsp:txXfrm>
    </dsp:sp>
    <dsp:sp modelId="{5AF73783-3255-4D45-B9B3-FDF506741097}">
      <dsp:nvSpPr>
        <dsp:cNvPr id="0" name=""/>
        <dsp:cNvSpPr/>
      </dsp:nvSpPr>
      <dsp:spPr>
        <a:xfrm>
          <a:off x="5283200" y="3379893"/>
          <a:ext cx="2844799" cy="1036320"/>
        </a:xfrm>
        <a:prstGeom prst="rect">
          <a:avLst/>
        </a:prstGeom>
        <a:noFill/>
        <a:ln w="6350" cap="flat" cmpd="sng" algn="ctr">
          <a:noFill/>
          <a:prstDash val="solid"/>
          <a:miter lim="800000"/>
        </a:ln>
        <a:effectLst/>
        <a:scene3d>
          <a:camera prst="orthographicFront"/>
          <a:lightRig rig="threePt" dir="t">
            <a:rot lat="0" lon="0" rev="7500000"/>
          </a:lightRig>
        </a:scene3d>
        <a:sp3d/>
      </dsp:spPr>
      <dsp:style>
        <a:lnRef idx="1">
          <a:scrgbClr r="0" g="0" b="0"/>
        </a:lnRef>
        <a:fillRef idx="1">
          <a:scrgbClr r="0" g="0" b="0"/>
        </a:fillRef>
        <a:effectRef idx="2">
          <a:scrgbClr r="0" g="0" b="0"/>
        </a:effectRef>
        <a:fontRef idx="minor"/>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solidFill>
                <a:schemeClr val="accent2"/>
              </a:solidFill>
            </a:rPr>
            <a:t>Work on behavior change by using new knowledge and skills</a:t>
          </a:r>
          <a:endParaRPr lang="en-US" sz="2000" kern="1200" dirty="0">
            <a:solidFill>
              <a:schemeClr val="accent2"/>
            </a:solidFill>
          </a:endParaRPr>
        </a:p>
      </dsp:txBody>
      <dsp:txXfrm>
        <a:off x="5283200" y="3379893"/>
        <a:ext cx="2844799" cy="10363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bg1"/>
              </a:solidFill>
            </a:rPr>
            <a:t>Go Live</a:t>
          </a:r>
          <a:endParaRPr lang="en-GB" sz="1300" b="1" kern="1200" dirty="0">
            <a:solidFill>
              <a:schemeClr val="bg1"/>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58000">
              <a:srgbClr val="2E75B6"/>
            </a:gs>
            <a:gs pos="87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gradFill rotWithShape="0">
          <a:gsLst>
            <a:gs pos="16000">
              <a:srgbClr val="2E75B6"/>
            </a:gs>
            <a:gs pos="37000">
              <a:srgbClr val="BFBFBF">
                <a:shade val="67500"/>
                <a:satMod val="115000"/>
              </a:srgbClr>
            </a:gs>
            <a:gs pos="100000">
              <a:srgbClr val="BFBFBF">
                <a:shade val="100000"/>
                <a:satMod val="115000"/>
              </a:srgb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gradFill rotWithShape="0">
          <a:gsLst>
            <a:gs pos="0">
              <a:srgbClr val="2E75B6"/>
            </a:gs>
            <a:gs pos="64000">
              <a:srgbClr val="BFBFBF">
                <a:shade val="67500"/>
                <a:satMod val="115000"/>
              </a:srgbClr>
            </a:gs>
            <a:gs pos="100000">
              <a:srgbClr val="BFBFBF">
                <a:shade val="100000"/>
                <a:satMod val="115000"/>
              </a:srgb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Design</a:t>
          </a: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Configure</a:t>
          </a: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Validate</a:t>
          </a: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Transition</a:t>
          </a: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a:solidFill>
                <a:schemeClr val="accent2"/>
              </a:solidFill>
            </a:rPr>
            <a:t>Go Live</a:t>
          </a: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Realization</a:t>
          </a: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Stabilization</a:t>
          </a:r>
        </a:p>
      </dsp:txBody>
      <dsp:txXfrm>
        <a:off x="10282340" y="2431550"/>
        <a:ext cx="928420" cy="55556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gradFill rotWithShape="0">
          <a:gsLst>
            <a:gs pos="0">
              <a:srgbClr val="2E75B6"/>
            </a:gs>
            <a:gs pos="64000">
              <a:srgbClr val="BFBFBF">
                <a:shade val="67500"/>
                <a:satMod val="115000"/>
              </a:srgbClr>
            </a:gs>
            <a:gs pos="100000">
              <a:srgbClr val="BFBFBF">
                <a:shade val="100000"/>
                <a:satMod val="115000"/>
              </a:srgb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Design</a:t>
          </a: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Configure</a:t>
          </a: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Validate</a:t>
          </a: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Transition</a:t>
          </a: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a:solidFill>
                <a:schemeClr val="accent2"/>
              </a:solidFill>
            </a:rPr>
            <a:t>Go Live</a:t>
          </a: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Realization</a:t>
          </a: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Stabilization</a:t>
          </a:r>
        </a:p>
      </dsp:txBody>
      <dsp:txXfrm>
        <a:off x="10282340" y="2431550"/>
        <a:ext cx="928420" cy="5555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55000">
              <a:srgbClr val="2E75B6"/>
            </a:gs>
            <a:gs pos="91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gradFill rotWithShape="0">
          <a:gsLst>
            <a:gs pos="7000">
              <a:srgbClr val="2E75B6"/>
            </a:gs>
            <a:gs pos="33000">
              <a:srgbClr val="BFBFBF">
                <a:shade val="67500"/>
                <a:satMod val="115000"/>
              </a:srgbClr>
            </a:gs>
            <a:gs pos="100000">
              <a:srgbClr val="BFBFBF">
                <a:shade val="100000"/>
                <a:satMod val="115000"/>
              </a:srgb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Design</a:t>
          </a: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55000">
              <a:srgbClr val="2E75B6"/>
            </a:gs>
            <a:gs pos="85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Configure</a:t>
          </a: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gradFill rotWithShape="0">
          <a:gsLst>
            <a:gs pos="3000">
              <a:srgbClr val="2E75B6"/>
            </a:gs>
            <a:gs pos="37000">
              <a:srgbClr val="BFBFBF">
                <a:shade val="67500"/>
                <a:satMod val="115000"/>
              </a:srgbClr>
            </a:gs>
            <a:gs pos="100000">
              <a:srgbClr val="BFBFBF">
                <a:shade val="100000"/>
                <a:satMod val="115000"/>
              </a:srgb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Validate</a:t>
          </a: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Transition</a:t>
          </a: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a:solidFill>
                <a:schemeClr val="accent2"/>
              </a:solidFill>
            </a:rPr>
            <a:t>Go Live</a:t>
          </a: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Realization</a:t>
          </a: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a:solidFill>
                <a:schemeClr val="bg1"/>
              </a:solidFill>
            </a:rPr>
            <a:t>Stabilization</a:t>
          </a:r>
        </a:p>
      </dsp:txBody>
      <dsp:txXfrm>
        <a:off x="10282340" y="2431550"/>
        <a:ext cx="928420" cy="55556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8770DC-3551-4C2D-B459-3352FA821942}">
      <dsp:nvSpPr>
        <dsp:cNvPr id="0" name=""/>
        <dsp:cNvSpPr/>
      </dsp:nvSpPr>
      <dsp:spPr>
        <a:xfrm>
          <a:off x="0" y="378810"/>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Identify process inefficiencies and apply Lean Six Sigma proven process improvement methodology to streamline and realize cost and time savings</a:t>
          </a:r>
          <a:endParaRPr lang="en-US" sz="1900" kern="1200" dirty="0"/>
        </a:p>
      </dsp:txBody>
      <dsp:txXfrm>
        <a:off x="0" y="378810"/>
        <a:ext cx="11309350" cy="1077300"/>
      </dsp:txXfrm>
    </dsp:sp>
    <dsp:sp modelId="{D4148B1A-F1D8-494A-AED5-991A0A9C8519}">
      <dsp:nvSpPr>
        <dsp:cNvPr id="0" name=""/>
        <dsp:cNvSpPr/>
      </dsp:nvSpPr>
      <dsp:spPr>
        <a:xfrm>
          <a:off x="565467" y="98370"/>
          <a:ext cx="7916545" cy="56088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Streamline</a:t>
          </a:r>
          <a:endParaRPr lang="en-US" sz="1900" kern="1200" dirty="0"/>
        </a:p>
      </dsp:txBody>
      <dsp:txXfrm>
        <a:off x="592847" y="125750"/>
        <a:ext cx="7861785" cy="506120"/>
      </dsp:txXfrm>
    </dsp:sp>
    <dsp:sp modelId="{362B30A8-9C47-487C-A643-4BA5D4227780}">
      <dsp:nvSpPr>
        <dsp:cNvPr id="0" name=""/>
        <dsp:cNvSpPr/>
      </dsp:nvSpPr>
      <dsp:spPr>
        <a:xfrm>
          <a:off x="0" y="1839151"/>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361466"/>
              <a:satOff val="-39154"/>
              <a:lumOff val="201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Reduce variation in processes and determine a unified best practices to be adopted institutionally</a:t>
          </a:r>
          <a:endParaRPr lang="en-US" sz="1900" kern="1200" dirty="0"/>
        </a:p>
      </dsp:txBody>
      <dsp:txXfrm>
        <a:off x="0" y="1839151"/>
        <a:ext cx="11309350" cy="1077300"/>
      </dsp:txXfrm>
    </dsp:sp>
    <dsp:sp modelId="{A0C5D76D-280E-420F-A4C9-CB3CD94907D0}">
      <dsp:nvSpPr>
        <dsp:cNvPr id="0" name=""/>
        <dsp:cNvSpPr/>
      </dsp:nvSpPr>
      <dsp:spPr>
        <a:xfrm>
          <a:off x="565467" y="1558711"/>
          <a:ext cx="7916545" cy="560880"/>
        </a:xfrm>
        <a:prstGeom prst="roundRect">
          <a:avLst/>
        </a:prstGeom>
        <a:solidFill>
          <a:schemeClr val="accent2">
            <a:shade val="80000"/>
            <a:hueOff val="361466"/>
            <a:satOff val="-39154"/>
            <a:lumOff val="201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Reduce Variation</a:t>
          </a:r>
          <a:endParaRPr lang="en-US" sz="1900" kern="1200" dirty="0"/>
        </a:p>
      </dsp:txBody>
      <dsp:txXfrm>
        <a:off x="592847" y="1586091"/>
        <a:ext cx="7861785" cy="506120"/>
      </dsp:txXfrm>
    </dsp:sp>
    <dsp:sp modelId="{3DAB547A-6FD5-481B-AC43-55D3353C8D97}">
      <dsp:nvSpPr>
        <dsp:cNvPr id="0" name=""/>
        <dsp:cNvSpPr/>
      </dsp:nvSpPr>
      <dsp:spPr>
        <a:xfrm>
          <a:off x="0" y="3299491"/>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Leverage system capabilities and process improvements to gain efficiencies that are configured for consistent and singular implementation and utilization</a:t>
          </a:r>
          <a:endParaRPr lang="en-US" sz="1900" kern="1200" dirty="0"/>
        </a:p>
      </dsp:txBody>
      <dsp:txXfrm>
        <a:off x="0" y="3299491"/>
        <a:ext cx="11309350" cy="1077300"/>
      </dsp:txXfrm>
    </dsp:sp>
    <dsp:sp modelId="{88947F43-D39C-4ABF-9628-DA39EFCAFBE0}">
      <dsp:nvSpPr>
        <dsp:cNvPr id="0" name=""/>
        <dsp:cNvSpPr/>
      </dsp:nvSpPr>
      <dsp:spPr>
        <a:xfrm>
          <a:off x="565467" y="3019051"/>
          <a:ext cx="7916545" cy="560880"/>
        </a:xfrm>
        <a:prstGeom prst="roundRect">
          <a:avLst/>
        </a:prstGeom>
        <a:solidFill>
          <a:schemeClr val="accent2">
            <a:shade val="80000"/>
            <a:hueOff val="722932"/>
            <a:satOff val="-78308"/>
            <a:lumOff val="403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Adopt single institutional best practice</a:t>
          </a:r>
          <a:endParaRPr lang="en-US" sz="1900" kern="1200" dirty="0"/>
        </a:p>
      </dsp:txBody>
      <dsp:txXfrm>
        <a:off x="592847" y="3046431"/>
        <a:ext cx="7861785" cy="506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A89DA4-63A0-4ED9-B20F-081E98BDF8DE}">
      <dsp:nvSpPr>
        <dsp:cNvPr id="0" name=""/>
        <dsp:cNvSpPr/>
      </dsp:nvSpPr>
      <dsp:spPr>
        <a:xfrm rot="5400000">
          <a:off x="-184027" y="188193"/>
          <a:ext cx="1226848" cy="858793"/>
        </a:xfrm>
        <a:prstGeom prst="chevron">
          <a:avLst/>
        </a:prstGeom>
        <a:solidFill>
          <a:schemeClr val="accent2">
            <a:shade val="8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1 Function</a:t>
          </a:r>
          <a:endParaRPr lang="en-US" sz="1600" b="1" kern="1200" dirty="0"/>
        </a:p>
      </dsp:txBody>
      <dsp:txXfrm rot="-5400000">
        <a:off x="1" y="433563"/>
        <a:ext cx="858793" cy="368055"/>
      </dsp:txXfrm>
    </dsp:sp>
    <dsp:sp modelId="{3EEA7799-2D37-469F-9052-A0DADE421F1E}">
      <dsp:nvSpPr>
        <dsp:cNvPr id="0" name=""/>
        <dsp:cNvSpPr/>
      </dsp:nvSpPr>
      <dsp:spPr>
        <a:xfrm rot="5400000">
          <a:off x="3228505" y="-2365545"/>
          <a:ext cx="797870" cy="5537294"/>
        </a:xfrm>
        <a:prstGeom prst="round2Same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A function is a discreet set of activities focused on achieving an outcome.  Foundation for a Level 2 process.</a:t>
          </a:r>
          <a:endParaRPr lang="en-US" sz="1600" kern="1200" dirty="0"/>
        </a:p>
      </dsp:txBody>
      <dsp:txXfrm rot="-5400000">
        <a:off x="858794" y="43115"/>
        <a:ext cx="5498345" cy="719972"/>
      </dsp:txXfrm>
    </dsp:sp>
    <dsp:sp modelId="{5D20F5AA-9228-4F63-BA23-BF7BC402724B}">
      <dsp:nvSpPr>
        <dsp:cNvPr id="0" name=""/>
        <dsp:cNvSpPr/>
      </dsp:nvSpPr>
      <dsp:spPr>
        <a:xfrm rot="5400000">
          <a:off x="-184027" y="1268187"/>
          <a:ext cx="1226848" cy="858793"/>
        </a:xfrm>
        <a:prstGeom prst="chevron">
          <a:avLst/>
        </a:prstGeom>
        <a:solidFill>
          <a:schemeClr val="accent2">
            <a:shade val="80000"/>
            <a:hueOff val="240977"/>
            <a:satOff val="-26103"/>
            <a:lumOff val="13439"/>
            <a:alphaOff val="0"/>
          </a:schemeClr>
        </a:solidFill>
        <a:ln w="12700" cap="flat" cmpd="sng" algn="ctr">
          <a:solidFill>
            <a:schemeClr val="accent2">
              <a:shade val="80000"/>
              <a:hueOff val="240977"/>
              <a:satOff val="-26103"/>
              <a:lumOff val="1343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2 Activity</a:t>
          </a:r>
          <a:endParaRPr lang="en-US" sz="1600" b="1" kern="1200" dirty="0"/>
        </a:p>
      </dsp:txBody>
      <dsp:txXfrm rot="-5400000">
        <a:off x="1" y="1513557"/>
        <a:ext cx="858793" cy="368055"/>
      </dsp:txXfrm>
    </dsp:sp>
    <dsp:sp modelId="{8999689C-C04F-43F5-AFBD-299C2BE3A7FB}">
      <dsp:nvSpPr>
        <dsp:cNvPr id="0" name=""/>
        <dsp:cNvSpPr/>
      </dsp:nvSpPr>
      <dsp:spPr>
        <a:xfrm rot="5400000">
          <a:off x="3228715" y="-1285761"/>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240977"/>
              <a:satOff val="-26103"/>
              <a:lumOff val="1343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project-wide functions into major activities necessary to complete and maintain each function.  Foundation for Level 3 process.</a:t>
          </a:r>
          <a:endParaRPr lang="en-US" sz="1600" kern="1200" dirty="0"/>
        </a:p>
      </dsp:txBody>
      <dsp:txXfrm rot="-5400000">
        <a:off x="858794" y="1123088"/>
        <a:ext cx="5498366" cy="719595"/>
      </dsp:txXfrm>
    </dsp:sp>
    <dsp:sp modelId="{12E68D59-D4A0-4C5D-BE13-50A1E6BE38B2}">
      <dsp:nvSpPr>
        <dsp:cNvPr id="0" name=""/>
        <dsp:cNvSpPr/>
      </dsp:nvSpPr>
      <dsp:spPr>
        <a:xfrm rot="5400000">
          <a:off x="-184027" y="2348180"/>
          <a:ext cx="1226848" cy="858793"/>
        </a:xfrm>
        <a:prstGeom prst="chevron">
          <a:avLst/>
        </a:prstGeom>
        <a:solidFill>
          <a:schemeClr val="accent2">
            <a:shade val="80000"/>
            <a:hueOff val="481955"/>
            <a:satOff val="-52205"/>
            <a:lumOff val="26879"/>
            <a:alphaOff val="0"/>
          </a:schemeClr>
        </a:solidFill>
        <a:ln w="12700" cap="flat" cmpd="sng" algn="ctr">
          <a:solidFill>
            <a:schemeClr val="accent2">
              <a:shade val="80000"/>
              <a:hueOff val="481955"/>
              <a:satOff val="-52205"/>
              <a:lumOff val="2687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3    Task</a:t>
          </a:r>
          <a:endParaRPr lang="en-US" sz="1600" b="1" kern="1200" dirty="0"/>
        </a:p>
      </dsp:txBody>
      <dsp:txXfrm rot="-5400000">
        <a:off x="1" y="2593550"/>
        <a:ext cx="858793" cy="368055"/>
      </dsp:txXfrm>
    </dsp:sp>
    <dsp:sp modelId="{98871479-EB71-4715-9BA6-9E2F740E9A83}">
      <dsp:nvSpPr>
        <dsp:cNvPr id="0" name=""/>
        <dsp:cNvSpPr/>
      </dsp:nvSpPr>
      <dsp:spPr>
        <a:xfrm rot="5400000">
          <a:off x="3228715" y="-205767"/>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481955"/>
              <a:satOff val="-52205"/>
              <a:lumOff val="2687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major activities into high level process steps called tasks required to complete activities.  Foundation for Level 4 process.</a:t>
          </a:r>
          <a:endParaRPr lang="en-US" sz="1600" kern="1200" dirty="0"/>
        </a:p>
      </dsp:txBody>
      <dsp:txXfrm rot="-5400000">
        <a:off x="858794" y="2203082"/>
        <a:ext cx="5498366" cy="719595"/>
      </dsp:txXfrm>
    </dsp:sp>
    <dsp:sp modelId="{1B8D8D69-E341-421A-A53B-AE16ABA51741}">
      <dsp:nvSpPr>
        <dsp:cNvPr id="0" name=""/>
        <dsp:cNvSpPr/>
      </dsp:nvSpPr>
      <dsp:spPr>
        <a:xfrm rot="5400000">
          <a:off x="-184027" y="3428174"/>
          <a:ext cx="1226848" cy="858793"/>
        </a:xfrm>
        <a:prstGeom prst="chevron">
          <a:avLst/>
        </a:prstGeom>
        <a:solidFill>
          <a:schemeClr val="accent2">
            <a:shade val="80000"/>
            <a:hueOff val="722932"/>
            <a:satOff val="-78308"/>
            <a:lumOff val="40318"/>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4 Subtask</a:t>
          </a:r>
          <a:endParaRPr lang="en-US" sz="1600" b="1" kern="1200" dirty="0"/>
        </a:p>
      </dsp:txBody>
      <dsp:txXfrm rot="-5400000">
        <a:off x="1" y="3673544"/>
        <a:ext cx="858793" cy="368055"/>
      </dsp:txXfrm>
    </dsp:sp>
    <dsp:sp modelId="{79DA0F09-6894-4415-B173-63E53A5CB698}">
      <dsp:nvSpPr>
        <dsp:cNvPr id="0" name=""/>
        <dsp:cNvSpPr/>
      </dsp:nvSpPr>
      <dsp:spPr>
        <a:xfrm rot="5400000">
          <a:off x="3228715" y="874225"/>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tasks into sub tasks that provide detail including organizational responsibility and role interactions</a:t>
          </a:r>
          <a:endParaRPr lang="en-US" sz="1600" kern="1200" dirty="0"/>
        </a:p>
      </dsp:txBody>
      <dsp:txXfrm rot="-5400000">
        <a:off x="858794" y="3283074"/>
        <a:ext cx="5498366" cy="71959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chemeClr val="bg1">
            <a:lumMod val="50000"/>
            <a:alpha val="4980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chemeClr val="bg1">
            <a:lumMod val="50000"/>
            <a:alpha val="5019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1C38FC-E12A-456A-A6D2-DF946DDDAE71}" type="datetimeFigureOut">
              <a:rPr lang="en-US" smtClean="0"/>
              <a:t>5/2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39363C-E87C-48F0-834E-DDA76601FB89}" type="slidenum">
              <a:rPr lang="en-US" smtClean="0"/>
              <a:t>‹#›</a:t>
            </a:fld>
            <a:endParaRPr lang="en-US"/>
          </a:p>
        </p:txBody>
      </p:sp>
    </p:spTree>
    <p:extLst>
      <p:ext uri="{BB962C8B-B14F-4D97-AF65-F5344CB8AC3E}">
        <p14:creationId xmlns:p14="http://schemas.microsoft.com/office/powerpoint/2010/main" val="2014903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3</a:t>
            </a:fld>
            <a:endParaRPr lang="en-US"/>
          </a:p>
        </p:txBody>
      </p:sp>
    </p:spTree>
    <p:extLst>
      <p:ext uri="{BB962C8B-B14F-4D97-AF65-F5344CB8AC3E}">
        <p14:creationId xmlns:p14="http://schemas.microsoft.com/office/powerpoint/2010/main" val="1727728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8128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6412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963041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24</a:t>
            </a:fld>
            <a:endParaRPr lang="en-US"/>
          </a:p>
        </p:txBody>
      </p:sp>
    </p:spTree>
    <p:extLst>
      <p:ext uri="{BB962C8B-B14F-4D97-AF65-F5344CB8AC3E}">
        <p14:creationId xmlns:p14="http://schemas.microsoft.com/office/powerpoint/2010/main" val="3319077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26</a:t>
            </a:fld>
            <a:endParaRPr lang="en-US"/>
          </a:p>
        </p:txBody>
      </p:sp>
    </p:spTree>
    <p:extLst>
      <p:ext uri="{BB962C8B-B14F-4D97-AF65-F5344CB8AC3E}">
        <p14:creationId xmlns:p14="http://schemas.microsoft.com/office/powerpoint/2010/main" val="2133621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27</a:t>
            </a:fld>
            <a:endParaRPr lang="en-US"/>
          </a:p>
        </p:txBody>
      </p:sp>
    </p:spTree>
    <p:extLst>
      <p:ext uri="{BB962C8B-B14F-4D97-AF65-F5344CB8AC3E}">
        <p14:creationId xmlns:p14="http://schemas.microsoft.com/office/powerpoint/2010/main" val="3447613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9363C-E87C-48F0-834E-DDA76601FB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9121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43</a:t>
            </a:fld>
            <a:endParaRPr lang="en-US"/>
          </a:p>
        </p:txBody>
      </p:sp>
    </p:spTree>
    <p:extLst>
      <p:ext uri="{BB962C8B-B14F-4D97-AF65-F5344CB8AC3E}">
        <p14:creationId xmlns:p14="http://schemas.microsoft.com/office/powerpoint/2010/main" val="392935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6</a:t>
            </a:fld>
            <a:endParaRPr lang="en-US"/>
          </a:p>
        </p:txBody>
      </p:sp>
    </p:spTree>
    <p:extLst>
      <p:ext uri="{BB962C8B-B14F-4D97-AF65-F5344CB8AC3E}">
        <p14:creationId xmlns:p14="http://schemas.microsoft.com/office/powerpoint/2010/main" val="1724692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2C39363C-E87C-48F0-834E-DDA76601FB89}" type="slidenum">
              <a:rPr lang="en-US" smtClean="0"/>
              <a:t>10</a:t>
            </a:fld>
            <a:endParaRPr lang="en-US"/>
          </a:p>
        </p:txBody>
      </p:sp>
    </p:spTree>
    <p:extLst>
      <p:ext uri="{BB962C8B-B14F-4D97-AF65-F5344CB8AC3E}">
        <p14:creationId xmlns:p14="http://schemas.microsoft.com/office/powerpoint/2010/main" val="3688655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438150"/>
            <a:ext cx="3868737" cy="2176463"/>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Executive Steering Committee</a:t>
            </a:r>
          </a:p>
        </p:txBody>
      </p:sp>
      <p:sp>
        <p:nvSpPr>
          <p:cNvPr id="6" name="Header Placeholder 5"/>
          <p:cNvSpPr>
            <a:spLocks noGrp="1"/>
          </p:cNvSpPr>
          <p:nvPr>
            <p:ph type="hd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Program Update</a:t>
            </a:r>
          </a:p>
        </p:txBody>
      </p:sp>
    </p:spTree>
    <p:extLst>
      <p:ext uri="{BB962C8B-B14F-4D97-AF65-F5344CB8AC3E}">
        <p14:creationId xmlns:p14="http://schemas.microsoft.com/office/powerpoint/2010/main" val="3803903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F0A00-B775-CF4D-84AF-24C7CD9CCF9D}" type="slidenum">
              <a:rPr lang="en-US" smtClean="0"/>
              <a:t>13</a:t>
            </a:fld>
            <a:endParaRPr lang="en-US"/>
          </a:p>
        </p:txBody>
      </p:sp>
    </p:spTree>
    <p:extLst>
      <p:ext uri="{BB962C8B-B14F-4D97-AF65-F5344CB8AC3E}">
        <p14:creationId xmlns:p14="http://schemas.microsoft.com/office/powerpoint/2010/main" val="344785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15</a:t>
            </a:fld>
            <a:endParaRPr lang="en-US"/>
          </a:p>
        </p:txBody>
      </p:sp>
    </p:spTree>
    <p:extLst>
      <p:ext uri="{BB962C8B-B14F-4D97-AF65-F5344CB8AC3E}">
        <p14:creationId xmlns:p14="http://schemas.microsoft.com/office/powerpoint/2010/main" val="1078303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434421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18</a:t>
            </a:fld>
            <a:endParaRPr lang="en-US"/>
          </a:p>
        </p:txBody>
      </p:sp>
    </p:spTree>
    <p:extLst>
      <p:ext uri="{BB962C8B-B14F-4D97-AF65-F5344CB8AC3E}">
        <p14:creationId xmlns:p14="http://schemas.microsoft.com/office/powerpoint/2010/main" val="4281667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t>19</a:t>
            </a:fld>
            <a:endParaRPr lang="en-US"/>
          </a:p>
        </p:txBody>
      </p:sp>
    </p:spTree>
    <p:extLst>
      <p:ext uri="{BB962C8B-B14F-4D97-AF65-F5344CB8AC3E}">
        <p14:creationId xmlns:p14="http://schemas.microsoft.com/office/powerpoint/2010/main" val="1440410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5/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822540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5/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3596916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5/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4009948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319347178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536155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40679042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310158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14457714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3007070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4331742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1259616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A6C5180-E54D-4744-9E33-00DCAF70D924}" type="datetimeFigureOut">
              <a:rPr lang="en-US" smtClean="0"/>
              <a:t>5/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8480464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3919183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2838901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2047075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a:t>Click to edit Master Subhead style</a:t>
            </a:r>
          </a:p>
        </p:txBody>
      </p:sp>
    </p:spTree>
    <p:extLst>
      <p:ext uri="{BB962C8B-B14F-4D97-AF65-F5344CB8AC3E}">
        <p14:creationId xmlns:p14="http://schemas.microsoft.com/office/powerpoint/2010/main" val="3206209846"/>
      </p:ext>
    </p:extLst>
  </p:cSld>
  <p:clrMapOvr>
    <a:masterClrMapping/>
  </p:clrMapOvr>
  <p:extLst mod="1">
    <p:ext uri="{DCECCB84-F9BA-43D5-87BE-67443E8EF086}">
      <p15:sldGuideLst xmlns:p15="http://schemas.microsoft.com/office/powerpoint/2012/main">
        <p15:guide id="1" orient="horz" pos="40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a:t>Click to edit Master Subhead style</a:t>
            </a:r>
          </a:p>
        </p:txBody>
      </p:sp>
      <p:sp>
        <p:nvSpPr>
          <p:cNvPr id="8" name="Slide Number Placeholder 5"/>
          <p:cNvSpPr>
            <a:spLocks noGrp="1"/>
          </p:cNvSpPr>
          <p:nvPr>
            <p:ph type="sldNum" sz="quarter" idx="12"/>
          </p:nvPr>
        </p:nvSpPr>
        <p:spPr>
          <a:xfrm>
            <a:off x="9106278" y="6556075"/>
            <a:ext cx="2743200" cy="365125"/>
          </a:xfrm>
        </p:spPr>
        <p:txBody>
          <a:bodyPr/>
          <a:lstStyle>
            <a:lvl1pPr>
              <a:defRPr sz="1100">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6" name="TextBox 5"/>
          <p:cNvSpPr txBox="1"/>
          <p:nvPr userDrawn="1"/>
        </p:nvSpPr>
        <p:spPr>
          <a:xfrm>
            <a:off x="307427" y="6559615"/>
            <a:ext cx="2278118" cy="307777"/>
          </a:xfrm>
          <a:prstGeom prst="rect">
            <a:avLst/>
          </a:prstGeom>
          <a:noFill/>
        </p:spPr>
        <p:txBody>
          <a:bodyPr wrap="square" rtlCol="0">
            <a:spAutoFit/>
          </a:bodyPr>
          <a:lstStyle/>
          <a:p>
            <a:r>
              <a:rPr lang="en-US" sz="1400" dirty="0">
                <a:solidFill>
                  <a:srgbClr val="05BFD5"/>
                </a:solidFill>
              </a:rPr>
              <a:t>Drafted 5.22.2018 KC_BH</a:t>
            </a:r>
          </a:p>
        </p:txBody>
      </p:sp>
    </p:spTree>
    <p:extLst>
      <p:ext uri="{BB962C8B-B14F-4D97-AF65-F5344CB8AC3E}">
        <p14:creationId xmlns:p14="http://schemas.microsoft.com/office/powerpoint/2010/main" val="27548394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567808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6199481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userDrawn="1"/>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34792018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396280254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7283428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A6C5180-E54D-4744-9E33-00DCAF70D924}" type="datetimeFigureOut">
              <a:rPr lang="en-US" smtClean="0"/>
              <a:t>5/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3217183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6434983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289505520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48270737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82029501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14474231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142996" y="6223828"/>
            <a:ext cx="2329074" cy="365125"/>
          </a:xfrm>
          <a:prstGeom prst="rect">
            <a:avLst/>
          </a:prstGeom>
        </p:spPr>
        <p:txBody>
          <a:bodyPr/>
          <a:lstStyle/>
          <a:p>
            <a:fld id="{FE58DA5F-AF59-4FE7-886B-84F6F7D36B11}" type="datetimeFigureOut">
              <a:rPr lang="en-US">
                <a:solidFill>
                  <a:srgbClr val="05BFD5"/>
                </a:solidFill>
              </a:rPr>
              <a:pPr/>
              <a:t>5/29/2019</a:t>
            </a:fld>
            <a:endParaRPr lang="en-US">
              <a:solidFill>
                <a:srgbClr val="05BFD5"/>
              </a:solidFill>
            </a:endParaRPr>
          </a:p>
        </p:txBody>
      </p:sp>
      <p:sp>
        <p:nvSpPr>
          <p:cNvPr id="3" name="Footer Placeholder 2"/>
          <p:cNvSpPr>
            <a:spLocks noGrp="1"/>
          </p:cNvSpPr>
          <p:nvPr>
            <p:ph type="ftr" sz="quarter" idx="11"/>
          </p:nvPr>
        </p:nvSpPr>
        <p:spPr>
          <a:xfrm>
            <a:off x="3949148" y="6223828"/>
            <a:ext cx="4717774" cy="365125"/>
          </a:xfrm>
          <a:prstGeom prst="rect">
            <a:avLst/>
          </a:prstGeom>
        </p:spPr>
        <p:txBody>
          <a:bodyPr/>
          <a:lstStyle/>
          <a:p>
            <a:endParaRPr lang="en-US">
              <a:solidFill>
                <a:srgbClr val="05BFD5"/>
              </a:solidFill>
            </a:endParaRPr>
          </a:p>
        </p:txBody>
      </p:sp>
      <p:sp>
        <p:nvSpPr>
          <p:cNvPr id="4" name="Slide Number Placeholder 3"/>
          <p:cNvSpPr>
            <a:spLocks noGrp="1"/>
          </p:cNvSpPr>
          <p:nvPr>
            <p:ph type="sldNum" sz="quarter" idx="12"/>
          </p:nvPr>
        </p:nvSpPr>
        <p:spPr/>
        <p:txBody>
          <a:bodyPr/>
          <a:lstStyle/>
          <a:p>
            <a:fld id="{023F3E25-BEF7-48CC-AF47-833574497E86}"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3713983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Slide-ITS">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613530" y="1844887"/>
            <a:ext cx="10906591" cy="1470025"/>
          </a:xfrm>
        </p:spPr>
        <p:txBody>
          <a:bodyPr lIns="0" tIns="0" rIns="0" bIns="0" anchor="b" anchorCtr="0">
            <a:normAutofit/>
          </a:bodyPr>
          <a:lstStyle>
            <a:lvl1pPr algn="l">
              <a:defRPr sz="4000" b="1" cap="all" baseline="0">
                <a:solidFill>
                  <a:srgbClr val="006A96"/>
                </a:solidFill>
              </a:defRPr>
            </a:lvl1pPr>
          </a:lstStyle>
          <a:p>
            <a:r>
              <a:rPr lang="en-US"/>
              <a:t>Click to Add section Title</a:t>
            </a:r>
          </a:p>
        </p:txBody>
      </p:sp>
      <p:sp>
        <p:nvSpPr>
          <p:cNvPr id="11" name="Subtitle 2"/>
          <p:cNvSpPr>
            <a:spLocks noGrp="1"/>
          </p:cNvSpPr>
          <p:nvPr>
            <p:ph type="subTitle" idx="1" hasCustomPrompt="1"/>
          </p:nvPr>
        </p:nvSpPr>
        <p:spPr>
          <a:xfrm>
            <a:off x="613530" y="3461118"/>
            <a:ext cx="10906591" cy="753881"/>
          </a:xfrm>
        </p:spPr>
        <p:txBody>
          <a:bodyPr lIns="0" tIns="0" rIns="0" bIns="0">
            <a:normAutofit/>
          </a:bodyPr>
          <a:lstStyle>
            <a:lvl1pPr marL="0" indent="0" algn="l">
              <a:buNone/>
              <a:defRPr sz="2100">
                <a:solidFill>
                  <a:schemeClr val="tx1">
                    <a:lumMod val="60000"/>
                    <a:lumOff val="40000"/>
                  </a:schemeClr>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0"/>
          </p:nvPr>
        </p:nvSpPr>
        <p:spPr/>
        <p:txBody>
          <a:bodyPr/>
          <a:lstStyle>
            <a:lvl1pPr>
              <a:defRPr>
                <a:solidFill>
                  <a:schemeClr val="tx1"/>
                </a:solidFill>
              </a:defRPr>
            </a:lvl1pPr>
          </a:lstStyle>
          <a:p>
            <a:fld id="{D0A8BD7E-3FB1-46E0-88A2-F69CF9BE5AD3}" type="slidenum">
              <a:rPr lang="en-US" smtClean="0">
                <a:solidFill>
                  <a:srgbClr val="464749"/>
                </a:solidFill>
              </a:rPr>
              <a:pPr/>
              <a:t>‹#›</a:t>
            </a:fld>
            <a:endParaRPr lang="en-US">
              <a:solidFill>
                <a:srgbClr val="464749"/>
              </a:solidFill>
            </a:endParaRPr>
          </a:p>
        </p:txBody>
      </p:sp>
    </p:spTree>
    <p:extLst>
      <p:ext uri="{BB962C8B-B14F-4D97-AF65-F5344CB8AC3E}">
        <p14:creationId xmlns:p14="http://schemas.microsoft.com/office/powerpoint/2010/main" val="30617848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Section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bwMode="ltGray">
          <a:xfrm>
            <a:off x="7" y="3"/>
            <a:ext cx="6094444" cy="6856100"/>
          </a:xfrm>
          <a:blipFill dpi="0" rotWithShape="1">
            <a:blip r:embed="rId3"/>
            <a:srcRect/>
            <a:stretch>
              <a:fillRect/>
            </a:stretch>
          </a:blipFill>
        </p:spPr>
        <p:txBody>
          <a:bodyPr tIns="451787" anchor="ctr" anchorCtr="0">
            <a:noAutofit/>
          </a:bodyPr>
          <a:lstStyle>
            <a:lvl1pPr marL="0" indent="0" algn="ctr">
              <a:buNone/>
              <a:defRPr sz="1300" b="1" cap="none" baseline="0">
                <a:gradFill>
                  <a:gsLst>
                    <a:gs pos="0">
                      <a:srgbClr val="FFFFFF"/>
                    </a:gs>
                    <a:gs pos="27000">
                      <a:srgbClr val="FFFFFF"/>
                    </a:gs>
                  </a:gsLst>
                  <a:lin ang="5400000" scaled="0"/>
                </a:gradFill>
                <a:latin typeface="Arial"/>
              </a:defRPr>
            </a:lvl1pPr>
          </a:lstStyle>
          <a:p>
            <a:r>
              <a:rPr lang="en-US"/>
              <a:t>Drag picture to placeholder or click icon to add</a:t>
            </a:r>
          </a:p>
        </p:txBody>
      </p:sp>
      <p:sp>
        <p:nvSpPr>
          <p:cNvPr id="7" name="Title 1"/>
          <p:cNvSpPr>
            <a:spLocks noGrp="1"/>
          </p:cNvSpPr>
          <p:nvPr>
            <p:ph type="ctrTitle" hasCustomPrompt="1"/>
          </p:nvPr>
        </p:nvSpPr>
        <p:spPr>
          <a:xfrm>
            <a:off x="6539352" y="1844887"/>
            <a:ext cx="5260385" cy="1470025"/>
          </a:xfrm>
        </p:spPr>
        <p:txBody>
          <a:bodyPr lIns="0" tIns="0" rIns="0" bIns="0" anchor="b" anchorCtr="0">
            <a:normAutofit/>
          </a:bodyPr>
          <a:lstStyle>
            <a:lvl1pPr algn="l">
              <a:defRPr sz="3600" b="1" baseline="0">
                <a:solidFill>
                  <a:srgbClr val="006A96"/>
                </a:solidFill>
              </a:defRPr>
            </a:lvl1pPr>
          </a:lstStyle>
          <a:p>
            <a:r>
              <a:rPr lang="en-US"/>
              <a:t>Click to Add Section Title</a:t>
            </a:r>
          </a:p>
        </p:txBody>
      </p:sp>
      <p:sp>
        <p:nvSpPr>
          <p:cNvPr id="9" name="Subtitle 2"/>
          <p:cNvSpPr>
            <a:spLocks noGrp="1"/>
          </p:cNvSpPr>
          <p:nvPr>
            <p:ph type="subTitle" idx="1" hasCustomPrompt="1"/>
          </p:nvPr>
        </p:nvSpPr>
        <p:spPr>
          <a:xfrm>
            <a:off x="6539352" y="3461118"/>
            <a:ext cx="5260385" cy="753881"/>
          </a:xfrm>
        </p:spPr>
        <p:txBody>
          <a:bodyPr lIns="0" tIns="0" rIns="0" bIns="0">
            <a:normAutofit/>
          </a:bodyPr>
          <a:lstStyle>
            <a:lvl1pPr marL="0" indent="0" algn="l">
              <a:buNone/>
              <a:defRPr sz="2100" baseline="0">
                <a:solidFill>
                  <a:srgbClr val="8F9093"/>
                </a:solidFill>
                <a:latin typeface="+mn-lt"/>
              </a:defRPr>
            </a:lvl1pPr>
            <a:lvl2pPr marL="457120" indent="0" algn="ctr">
              <a:buNone/>
              <a:defRPr>
                <a:solidFill>
                  <a:schemeClr val="tx1">
                    <a:tint val="75000"/>
                  </a:schemeClr>
                </a:solidFill>
              </a:defRPr>
            </a:lvl2pPr>
            <a:lvl3pPr marL="914243" indent="0" algn="ctr">
              <a:buNone/>
              <a:defRPr>
                <a:solidFill>
                  <a:schemeClr val="tx1">
                    <a:tint val="75000"/>
                  </a:schemeClr>
                </a:solidFill>
              </a:defRPr>
            </a:lvl3pPr>
            <a:lvl4pPr marL="1371366" indent="0" algn="ctr">
              <a:buNone/>
              <a:defRPr>
                <a:solidFill>
                  <a:schemeClr val="tx1">
                    <a:tint val="75000"/>
                  </a:schemeClr>
                </a:solidFill>
              </a:defRPr>
            </a:lvl4pPr>
            <a:lvl5pPr marL="1828488" indent="0" algn="ctr">
              <a:buNone/>
              <a:defRPr>
                <a:solidFill>
                  <a:schemeClr val="tx1">
                    <a:tint val="75000"/>
                  </a:schemeClr>
                </a:solidFill>
              </a:defRPr>
            </a:lvl5pPr>
            <a:lvl6pPr marL="2285609" indent="0" algn="ctr">
              <a:buNone/>
              <a:defRPr>
                <a:solidFill>
                  <a:schemeClr val="tx1">
                    <a:tint val="75000"/>
                  </a:schemeClr>
                </a:solidFill>
              </a:defRPr>
            </a:lvl6pPr>
            <a:lvl7pPr marL="2742729" indent="0" algn="ctr">
              <a:buNone/>
              <a:defRPr>
                <a:solidFill>
                  <a:schemeClr val="tx1">
                    <a:tint val="75000"/>
                  </a:schemeClr>
                </a:solidFill>
              </a:defRPr>
            </a:lvl7pPr>
            <a:lvl8pPr marL="3199851" indent="0" algn="ctr">
              <a:buNone/>
              <a:defRPr>
                <a:solidFill>
                  <a:schemeClr val="tx1">
                    <a:tint val="75000"/>
                  </a:schemeClr>
                </a:solidFill>
              </a:defRPr>
            </a:lvl8pPr>
            <a:lvl9pPr marL="3656973" indent="0" algn="ctr">
              <a:buNone/>
              <a:defRPr>
                <a:solidFill>
                  <a:schemeClr val="tx1">
                    <a:tint val="75000"/>
                  </a:schemeClr>
                </a:solidFill>
              </a:defRPr>
            </a:lvl9pPr>
          </a:lstStyle>
          <a:p>
            <a:r>
              <a:rPr lang="en-US"/>
              <a:t>Click to Add Subtitle</a:t>
            </a:r>
          </a:p>
        </p:txBody>
      </p:sp>
      <p:sp>
        <p:nvSpPr>
          <p:cNvPr id="2" name="Slide Number Placeholder 1"/>
          <p:cNvSpPr>
            <a:spLocks noGrp="1"/>
          </p:cNvSpPr>
          <p:nvPr>
            <p:ph type="sldNum" sz="quarter" idx="11"/>
          </p:nvPr>
        </p:nvSpPr>
        <p:spPr>
          <a:xfrm>
            <a:off x="6539344" y="6293030"/>
            <a:ext cx="2743200" cy="365125"/>
          </a:xfrm>
        </p:spPr>
        <p:txBody>
          <a:bodyPr/>
          <a:lstStyle>
            <a:lvl1pPr>
              <a:defRPr>
                <a:solidFill>
                  <a:srgbClr val="13294B"/>
                </a:solidFill>
              </a:defRPr>
            </a:lvl1pPr>
          </a:lstStyle>
          <a:p>
            <a:fld id="{D0A8BD7E-3FB1-46E0-88A2-F69CF9BE5AD3}" type="slidenum">
              <a:rPr lang="en-US" smtClean="0"/>
              <a:pPr/>
              <a:t>‹#›</a:t>
            </a:fld>
            <a:endParaRPr lang="en-US"/>
          </a:p>
        </p:txBody>
      </p:sp>
    </p:spTree>
    <p:extLst>
      <p:ext uri="{BB962C8B-B14F-4D97-AF65-F5344CB8AC3E}">
        <p14:creationId xmlns:p14="http://schemas.microsoft.com/office/powerpoint/2010/main" val="31942093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blue_Closing-conta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230619" y="3530283"/>
            <a:ext cx="7510987" cy="1752931"/>
          </a:xfrm>
          <a:prstGeom prst="rect">
            <a:avLst/>
          </a:prstGeom>
        </p:spPr>
        <p:txBody>
          <a:bodyPr lIns="0">
            <a:normAutofit/>
          </a:bodyPr>
          <a:lstStyle>
            <a:lvl1pPr marL="0" indent="0">
              <a:lnSpc>
                <a:spcPct val="50000"/>
              </a:lnSpc>
              <a:spcBef>
                <a:spcPts val="495"/>
              </a:spcBef>
              <a:buFontTx/>
              <a:buNone/>
              <a:defRPr sz="2400" baseline="0">
                <a:solidFill>
                  <a:schemeClr val="bg1"/>
                </a:solidFill>
                <a:latin typeface="Calibri"/>
                <a:cs typeface="Arial"/>
              </a:defRPr>
            </a:lvl1pPr>
            <a:lvl2pPr>
              <a:defRPr>
                <a:solidFill>
                  <a:schemeClr val="bg2"/>
                </a:solidFill>
                <a:latin typeface="+mn-lt"/>
              </a:defRPr>
            </a:lvl2pPr>
            <a:lvl3pPr>
              <a:defRPr>
                <a:solidFill>
                  <a:schemeClr val="bg2"/>
                </a:solidFill>
                <a:latin typeface="+mn-lt"/>
              </a:defRPr>
            </a:lvl3pPr>
            <a:lvl4pPr>
              <a:defRPr>
                <a:solidFill>
                  <a:schemeClr val="bg2"/>
                </a:solidFill>
                <a:latin typeface="+mn-lt"/>
              </a:defRPr>
            </a:lvl4pPr>
            <a:lvl5pPr>
              <a:defRPr>
                <a:solidFill>
                  <a:schemeClr val="bg2"/>
                </a:solidFill>
                <a:latin typeface="+mn-lt"/>
              </a:defRPr>
            </a:lvl5pPr>
          </a:lstStyle>
          <a:p>
            <a:pPr lvl="0"/>
            <a:r>
              <a:rPr lang="en-US"/>
              <a:t>Click to add contact information</a:t>
            </a:r>
          </a:p>
        </p:txBody>
      </p:sp>
    </p:spTree>
    <p:extLst>
      <p:ext uri="{BB962C8B-B14F-4D97-AF65-F5344CB8AC3E}">
        <p14:creationId xmlns:p14="http://schemas.microsoft.com/office/powerpoint/2010/main" val="27755596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7881489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A6C5180-E54D-4744-9E33-00DCAF70D924}" type="datetimeFigureOut">
              <a:rPr lang="en-US" smtClean="0"/>
              <a:t>5/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3923914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70037325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14763697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291223666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52605946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9649952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335432120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Content+PhotoLeft">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6972301" y="1608673"/>
            <a:ext cx="4809067" cy="4028153"/>
          </a:xfrm>
        </p:spPr>
        <p:txBody>
          <a:bodyPr lIns="0" tIns="0" rIns="0" bIns="0"/>
          <a:lstStyle>
            <a:lvl1pPr marL="287319" indent="-287319">
              <a:lnSpc>
                <a:spcPct val="90000"/>
              </a:lnSpc>
              <a:spcBef>
                <a:spcPts val="600"/>
              </a:spcBef>
              <a:spcAft>
                <a:spcPts val="800"/>
              </a:spcAft>
              <a:buClr>
                <a:srgbClr val="0C68AC"/>
              </a:buClr>
              <a:defRPr sz="2100">
                <a:solidFill>
                  <a:srgbClr val="101D3A"/>
                </a:solidFill>
              </a:defRPr>
            </a:lvl1pPr>
            <a:lvl2pPr>
              <a:lnSpc>
                <a:spcPct val="90000"/>
              </a:lnSpc>
              <a:spcBef>
                <a:spcPts val="600"/>
              </a:spcBef>
              <a:spcAft>
                <a:spcPts val="800"/>
              </a:spcAft>
              <a:buClr>
                <a:srgbClr val="0C68AC"/>
              </a:buClr>
              <a:defRPr sz="2100">
                <a:solidFill>
                  <a:srgbClr val="101D3A"/>
                </a:solidFill>
              </a:defRPr>
            </a:lvl2pPr>
            <a:lvl3pPr>
              <a:lnSpc>
                <a:spcPct val="90000"/>
              </a:lnSpc>
              <a:spcBef>
                <a:spcPts val="600"/>
              </a:spcBef>
              <a:spcAft>
                <a:spcPts val="800"/>
              </a:spcAft>
              <a:buClr>
                <a:srgbClr val="0C68AC"/>
              </a:buClr>
              <a:defRPr sz="1800">
                <a:solidFill>
                  <a:srgbClr val="101D3A"/>
                </a:solidFill>
              </a:defRPr>
            </a:lvl3pPr>
            <a:lvl4pPr>
              <a:lnSpc>
                <a:spcPct val="90000"/>
              </a:lnSpc>
              <a:spcBef>
                <a:spcPts val="600"/>
              </a:spcBef>
              <a:spcAft>
                <a:spcPts val="800"/>
              </a:spcAft>
              <a:buClr>
                <a:srgbClr val="0C68AC"/>
              </a:buClr>
              <a:defRPr sz="1500">
                <a:solidFill>
                  <a:srgbClr val="101D3A"/>
                </a:solidFill>
              </a:defRPr>
            </a:lvl4pPr>
            <a:lvl5pPr>
              <a:lnSpc>
                <a:spcPct val="90000"/>
              </a:lnSpc>
              <a:spcBef>
                <a:spcPts val="600"/>
              </a:spcBef>
              <a:spcAft>
                <a:spcPts val="800"/>
              </a:spcAft>
              <a:buClr>
                <a:srgbClr val="0C68AC"/>
              </a:buClr>
              <a:defRPr sz="1500">
                <a:solidFill>
                  <a:srgbClr val="101D3A"/>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p:cNvSpPr>
            <a:spLocks noGrp="1"/>
          </p:cNvSpPr>
          <p:nvPr>
            <p:ph type="pic" idx="14" hasCustomPrompt="1"/>
          </p:nvPr>
        </p:nvSpPr>
        <p:spPr>
          <a:xfrm>
            <a:off x="423333" y="1624471"/>
            <a:ext cx="6267451" cy="4012354"/>
          </a:xfrm>
        </p:spPr>
        <p:txBody>
          <a:bodyPr anchor="ctr" anchorCtr="1"/>
          <a:lstStyle>
            <a:lvl1pPr marL="0" indent="0" algn="ctr">
              <a:buNone/>
              <a:defRPr sz="1400"/>
            </a:lvl1pPr>
            <a:lvl2pPr marL="511786" indent="0">
              <a:buNone/>
              <a:defRPr sz="3100"/>
            </a:lvl2pPr>
            <a:lvl3pPr marL="1023572" indent="0">
              <a:buNone/>
              <a:defRPr sz="2700"/>
            </a:lvl3pPr>
            <a:lvl4pPr marL="1535359" indent="0">
              <a:buNone/>
              <a:defRPr sz="2200"/>
            </a:lvl4pPr>
            <a:lvl5pPr marL="2047145" indent="0">
              <a:buNone/>
              <a:defRPr sz="2200"/>
            </a:lvl5pPr>
            <a:lvl6pPr marL="2558932" indent="0">
              <a:buNone/>
              <a:defRPr sz="2200"/>
            </a:lvl6pPr>
            <a:lvl7pPr marL="3070719" indent="0">
              <a:buNone/>
              <a:defRPr sz="2200"/>
            </a:lvl7pPr>
            <a:lvl8pPr marL="3582505" indent="0">
              <a:buNone/>
              <a:defRPr sz="2200"/>
            </a:lvl8pPr>
            <a:lvl9pPr marL="4094293" indent="0">
              <a:buNone/>
              <a:defRPr sz="2200"/>
            </a:lvl9pPr>
          </a:lstStyle>
          <a:p>
            <a:r>
              <a:rPr lang="en-US" dirty="0"/>
              <a:t>Drag picture to placeholder </a:t>
            </a:r>
            <a:br>
              <a:rPr lang="en-US" dirty="0"/>
            </a:br>
            <a:r>
              <a:rPr lang="en-US" dirty="0"/>
              <a:t>or click icon to add</a:t>
            </a:r>
            <a:br>
              <a:rPr lang="en-US" dirty="0"/>
            </a:br>
            <a:r>
              <a:rPr lang="en-US" dirty="0"/>
              <a:t>(150 DPI PNG file recommended)</a:t>
            </a:r>
          </a:p>
        </p:txBody>
      </p:sp>
      <p:sp>
        <p:nvSpPr>
          <p:cNvPr id="5" name="Slide Number Placeholder 4"/>
          <p:cNvSpPr>
            <a:spLocks noGrp="1"/>
          </p:cNvSpPr>
          <p:nvPr>
            <p:ph type="sldNum" sz="quarter" idx="16"/>
          </p:nvPr>
        </p:nvSpPr>
        <p:spPr/>
        <p:txBody>
          <a:bodyPr/>
          <a:lstStyle/>
          <a:p>
            <a:fld id="{23750D03-48AD-2741-AECD-41D901562598}" type="slidenum">
              <a:rPr lang="en-US" smtClean="0">
                <a:solidFill>
                  <a:srgbClr val="585958"/>
                </a:solidFill>
              </a:rPr>
              <a:pPr/>
              <a:t>‹#›</a:t>
            </a:fld>
            <a:endParaRPr lang="en-US" dirty="0">
              <a:solidFill>
                <a:srgbClr val="585958"/>
              </a:solidFill>
            </a:endParaRPr>
          </a:p>
        </p:txBody>
      </p:sp>
      <p:sp>
        <p:nvSpPr>
          <p:cNvPr id="3" name="Title 2"/>
          <p:cNvSpPr>
            <a:spLocks noGrp="1"/>
          </p:cNvSpPr>
          <p:nvPr>
            <p:ph type="title"/>
          </p:nvPr>
        </p:nvSpPr>
        <p:spPr/>
        <p:txBody>
          <a:bodyPr/>
          <a:lstStyle>
            <a:lvl1pPr>
              <a:defRPr baseline="0">
                <a:solidFill>
                  <a:srgbClr val="006A96"/>
                </a:solidFill>
              </a:defRPr>
            </a:lvl1pPr>
          </a:lstStyle>
          <a:p>
            <a:r>
              <a:rPr lang="en-US" dirty="0"/>
              <a:t>Click to edit Master title style</a:t>
            </a:r>
          </a:p>
        </p:txBody>
      </p:sp>
    </p:spTree>
    <p:extLst>
      <p:ext uri="{BB962C8B-B14F-4D97-AF65-F5344CB8AC3E}">
        <p14:creationId xmlns:p14="http://schemas.microsoft.com/office/powerpoint/2010/main" val="308115484"/>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A6C5180-E54D-4744-9E33-00DCAF70D924}" type="datetimeFigureOut">
              <a:rPr lang="en-US" smtClean="0"/>
              <a:t>5/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1745824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A6C5180-E54D-4744-9E33-00DCAF70D924}" type="datetimeFigureOut">
              <a:rPr lang="en-US" smtClean="0"/>
              <a:t>5/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763698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6C5180-E54D-4744-9E33-00DCAF70D924}" type="datetimeFigureOut">
              <a:rPr lang="en-US" smtClean="0"/>
              <a:t>5/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373715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6C5180-E54D-4744-9E33-00DCAF70D924}" type="datetimeFigureOut">
              <a:rPr lang="en-US" smtClean="0"/>
              <a:t>5/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1955890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6C5180-E54D-4744-9E33-00DCAF70D924}" type="datetimeFigureOut">
              <a:rPr lang="en-US" smtClean="0"/>
              <a:t>5/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7BE176-9832-4351-8E8A-6DF4D37D77B0}" type="slidenum">
              <a:rPr lang="en-US" smtClean="0"/>
              <a:t>‹#›</a:t>
            </a:fld>
            <a:endParaRPr lang="en-US"/>
          </a:p>
        </p:txBody>
      </p:sp>
    </p:spTree>
    <p:extLst>
      <p:ext uri="{BB962C8B-B14F-4D97-AF65-F5344CB8AC3E}">
        <p14:creationId xmlns:p14="http://schemas.microsoft.com/office/powerpoint/2010/main" val="83890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6C5180-E54D-4744-9E33-00DCAF70D924}" type="datetimeFigureOut">
              <a:rPr lang="en-US" smtClean="0"/>
              <a:t>5/29/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7BE176-9832-4351-8E8A-6DF4D37D77B0}" type="slidenum">
              <a:rPr lang="en-US" smtClean="0"/>
              <a:t>‹#›</a:t>
            </a:fld>
            <a:endParaRPr lang="en-US"/>
          </a:p>
        </p:txBody>
      </p:sp>
    </p:spTree>
    <p:extLst>
      <p:ext uri="{BB962C8B-B14F-4D97-AF65-F5344CB8AC3E}">
        <p14:creationId xmlns:p14="http://schemas.microsoft.com/office/powerpoint/2010/main" val="10615457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15528338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289472869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351328603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956589" y="6569184"/>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
        <p:nvSpPr>
          <p:cNvPr id="5" name="Rectangle 4"/>
          <p:cNvSpPr/>
          <p:nvPr userDrawn="1"/>
        </p:nvSpPr>
        <p:spPr>
          <a:xfrm>
            <a:off x="5186549" y="6544399"/>
            <a:ext cx="1366080" cy="307777"/>
          </a:xfrm>
          <a:prstGeom prst="rect">
            <a:avLst/>
          </a:prstGeom>
        </p:spPr>
        <p:txBody>
          <a:bodyPr wrap="none">
            <a:spAutoFit/>
          </a:bodyPr>
          <a:lstStyle/>
          <a:p>
            <a:r>
              <a:rPr lang="en-US" sz="1400" dirty="0">
                <a:solidFill>
                  <a:srgbClr val="05BFD5"/>
                </a:solidFill>
              </a:rPr>
              <a:t>SOCM Biweekly </a:t>
            </a:r>
          </a:p>
        </p:txBody>
      </p:sp>
    </p:spTree>
    <p:extLst>
      <p:ext uri="{BB962C8B-B14F-4D97-AF65-F5344CB8AC3E}">
        <p14:creationId xmlns:p14="http://schemas.microsoft.com/office/powerpoint/2010/main" val="172629429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Lst>
  <p:hf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19252398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705"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623" y="274639"/>
            <a:ext cx="10972800" cy="1143000"/>
          </a:xfrm>
          <a:prstGeom prst="rect">
            <a:avLst/>
          </a:prstGeom>
        </p:spPr>
        <p:txBody>
          <a:bodyPr vert="horz" lIns="91426" tIns="0" rIns="91426" bIns="0" rtlCol="0" anchor="t" anchorCtr="0">
            <a:normAutofit/>
          </a:bodyPr>
          <a:lstStyle/>
          <a:p>
            <a:r>
              <a:rPr lang="en-US"/>
              <a:t>Click to edit Master title style</a:t>
            </a:r>
          </a:p>
        </p:txBody>
      </p:sp>
      <p:sp>
        <p:nvSpPr>
          <p:cNvPr id="3" name="Text Placeholder 2"/>
          <p:cNvSpPr>
            <a:spLocks noGrp="1"/>
          </p:cNvSpPr>
          <p:nvPr>
            <p:ph type="body" idx="1"/>
          </p:nvPr>
        </p:nvSpPr>
        <p:spPr>
          <a:xfrm>
            <a:off x="434623" y="1600203"/>
            <a:ext cx="10972800" cy="4525963"/>
          </a:xfrm>
          <a:prstGeom prst="rect">
            <a:avLst/>
          </a:prstGeom>
        </p:spPr>
        <p:txBody>
          <a:bodyPr vert="horz" lIns="91426" tIns="45714" rIns="91426" bIns="4571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434623" y="6291885"/>
            <a:ext cx="2743200" cy="365125"/>
          </a:xfrm>
          <a:prstGeom prst="rect">
            <a:avLst/>
          </a:prstGeom>
        </p:spPr>
        <p:txBody>
          <a:bodyPr vert="horz" lIns="0" tIns="45719" rIns="91436" bIns="45719" rtlCol="0" anchor="ctr"/>
          <a:lstStyle>
            <a:lvl1pPr algn="l">
              <a:defRPr sz="1000">
                <a:solidFill>
                  <a:srgbClr val="13294B"/>
                </a:solidFill>
              </a:defRPr>
            </a:lvl1pPr>
          </a:lstStyle>
          <a:p>
            <a:pPr defTabSz="457133"/>
            <a:fld id="{D0A8BD7E-3FB1-46E0-88A2-F69CF9BE5AD3}" type="slidenum">
              <a:rPr lang="en-US" smtClean="0"/>
              <a:pPr defTabSz="457133"/>
              <a:t>‹#›</a:t>
            </a:fld>
            <a:endParaRPr lang="en-US"/>
          </a:p>
        </p:txBody>
      </p:sp>
    </p:spTree>
    <p:extLst>
      <p:ext uri="{BB962C8B-B14F-4D97-AF65-F5344CB8AC3E}">
        <p14:creationId xmlns:p14="http://schemas.microsoft.com/office/powerpoint/2010/main" val="355203832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Lst>
  <p:hf hdr="0" dt="0"/>
  <p:txStyles>
    <p:titleStyle>
      <a:lvl1pPr algn="l" defTabSz="457120" rtl="0" eaLnBrk="1" latinLnBrk="0" hangingPunct="1">
        <a:spcBef>
          <a:spcPct val="0"/>
        </a:spcBef>
        <a:buNone/>
        <a:defRPr sz="3300" b="1" kern="1200" baseline="0">
          <a:solidFill>
            <a:schemeClr val="tx1"/>
          </a:solidFill>
          <a:latin typeface="calibri" charset="0"/>
          <a:ea typeface="+mj-ea"/>
          <a:cs typeface="+mj-cs"/>
        </a:defRPr>
      </a:lvl1pPr>
    </p:titleStyle>
    <p:bodyStyle>
      <a:lvl1pPr marL="342840" indent="-342840" algn="l" defTabSz="457120" rtl="0" eaLnBrk="1" latinLnBrk="0" hangingPunct="1">
        <a:spcBef>
          <a:spcPct val="20000"/>
        </a:spcBef>
        <a:buFont typeface="Arial"/>
        <a:buChar char="•"/>
        <a:defRPr sz="2000" kern="1200" baseline="0">
          <a:solidFill>
            <a:schemeClr val="tx1"/>
          </a:solidFill>
          <a:latin typeface="+mn-lt"/>
          <a:ea typeface="+mn-ea"/>
          <a:cs typeface="+mn-cs"/>
        </a:defRPr>
      </a:lvl1pPr>
      <a:lvl2pPr marL="742823" indent="-285701" algn="l" defTabSz="457120" rtl="0" eaLnBrk="1" latinLnBrk="0" hangingPunct="1">
        <a:spcBef>
          <a:spcPct val="20000"/>
        </a:spcBef>
        <a:buFont typeface="Arial"/>
        <a:buChar char="•"/>
        <a:defRPr sz="2000" kern="1200" baseline="0">
          <a:solidFill>
            <a:schemeClr val="tx1"/>
          </a:solidFill>
          <a:latin typeface="+mn-lt"/>
          <a:ea typeface="+mn-ea"/>
          <a:cs typeface="+mn-cs"/>
        </a:defRPr>
      </a:lvl2pPr>
      <a:lvl3pPr marL="1142804" indent="-228561" algn="l" defTabSz="457120" rtl="0" eaLnBrk="1" latinLnBrk="0" hangingPunct="1">
        <a:spcBef>
          <a:spcPct val="20000"/>
        </a:spcBef>
        <a:buFont typeface="Arial"/>
        <a:buChar char="•"/>
        <a:defRPr sz="2000" kern="1200" baseline="0">
          <a:solidFill>
            <a:schemeClr val="tx1"/>
          </a:solidFill>
          <a:latin typeface="+mn-lt"/>
          <a:ea typeface="+mn-ea"/>
          <a:cs typeface="+mn-cs"/>
        </a:defRPr>
      </a:lvl3pPr>
      <a:lvl4pPr marL="159992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4pPr>
      <a:lvl5pPr marL="2057047" indent="-228561" algn="l" defTabSz="457120" rtl="0" eaLnBrk="1" latinLnBrk="0" hangingPunct="1">
        <a:spcBef>
          <a:spcPct val="20000"/>
        </a:spcBef>
        <a:buFont typeface="Arial"/>
        <a:buChar char="•"/>
        <a:defRPr sz="1800" kern="1200" baseline="0">
          <a:solidFill>
            <a:schemeClr val="tx1"/>
          </a:solidFill>
          <a:latin typeface="+mn-lt"/>
          <a:ea typeface="+mn-ea"/>
          <a:cs typeface="+mn-cs"/>
        </a:defRPr>
      </a:lvl5pPr>
      <a:lvl6pPr marL="2514169" indent="-228561" algn="l" defTabSz="457120" rtl="0" eaLnBrk="1" latinLnBrk="0" hangingPunct="1">
        <a:spcBef>
          <a:spcPct val="20000"/>
        </a:spcBef>
        <a:buFont typeface="Arial"/>
        <a:buChar char="•"/>
        <a:defRPr sz="2100" kern="1200">
          <a:solidFill>
            <a:schemeClr val="tx1"/>
          </a:solidFill>
          <a:latin typeface="+mn-lt"/>
          <a:ea typeface="+mn-ea"/>
          <a:cs typeface="+mn-cs"/>
        </a:defRPr>
      </a:lvl6pPr>
      <a:lvl7pPr marL="2971291" indent="-228561" algn="l" defTabSz="457120" rtl="0" eaLnBrk="1" latinLnBrk="0" hangingPunct="1">
        <a:spcBef>
          <a:spcPct val="20000"/>
        </a:spcBef>
        <a:buFont typeface="Arial"/>
        <a:buChar char="•"/>
        <a:defRPr sz="2100" kern="1200">
          <a:solidFill>
            <a:schemeClr val="tx1"/>
          </a:solidFill>
          <a:latin typeface="+mn-lt"/>
          <a:ea typeface="+mn-ea"/>
          <a:cs typeface="+mn-cs"/>
        </a:defRPr>
      </a:lvl7pPr>
      <a:lvl8pPr marL="3428413" indent="-228561" algn="l" defTabSz="457120" rtl="0" eaLnBrk="1" latinLnBrk="0" hangingPunct="1">
        <a:spcBef>
          <a:spcPct val="20000"/>
        </a:spcBef>
        <a:buFont typeface="Arial"/>
        <a:buChar char="•"/>
        <a:defRPr sz="2100" kern="1200">
          <a:solidFill>
            <a:schemeClr val="tx1"/>
          </a:solidFill>
          <a:latin typeface="+mn-lt"/>
          <a:ea typeface="+mn-ea"/>
          <a:cs typeface="+mn-cs"/>
        </a:defRPr>
      </a:lvl8pPr>
      <a:lvl9pPr marL="3885534" indent="-228561" algn="l" defTabSz="457120"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43" algn="l" defTabSz="457120" rtl="0" eaLnBrk="1" latinLnBrk="0" hangingPunct="1">
        <a:defRPr sz="1800" kern="1200">
          <a:solidFill>
            <a:schemeClr val="tx1"/>
          </a:solidFill>
          <a:latin typeface="+mn-lt"/>
          <a:ea typeface="+mn-ea"/>
          <a:cs typeface="+mn-cs"/>
        </a:defRPr>
      </a:lvl3pPr>
      <a:lvl4pPr marL="1371366" algn="l" defTabSz="457120" rtl="0" eaLnBrk="1" latinLnBrk="0" hangingPunct="1">
        <a:defRPr sz="1800" kern="1200">
          <a:solidFill>
            <a:schemeClr val="tx1"/>
          </a:solidFill>
          <a:latin typeface="+mn-lt"/>
          <a:ea typeface="+mn-ea"/>
          <a:cs typeface="+mn-cs"/>
        </a:defRPr>
      </a:lvl4pPr>
      <a:lvl5pPr marL="1828488" algn="l" defTabSz="457120" rtl="0" eaLnBrk="1" latinLnBrk="0" hangingPunct="1">
        <a:defRPr sz="1800" kern="1200">
          <a:solidFill>
            <a:schemeClr val="tx1"/>
          </a:solidFill>
          <a:latin typeface="+mn-lt"/>
          <a:ea typeface="+mn-ea"/>
          <a:cs typeface="+mn-cs"/>
        </a:defRPr>
      </a:lvl5pPr>
      <a:lvl6pPr marL="2285609" algn="l" defTabSz="457120" rtl="0" eaLnBrk="1" latinLnBrk="0" hangingPunct="1">
        <a:defRPr sz="1800" kern="1200">
          <a:solidFill>
            <a:schemeClr val="tx1"/>
          </a:solidFill>
          <a:latin typeface="+mn-lt"/>
          <a:ea typeface="+mn-ea"/>
          <a:cs typeface="+mn-cs"/>
        </a:defRPr>
      </a:lvl6pPr>
      <a:lvl7pPr marL="2742729" algn="l" defTabSz="457120" rtl="0" eaLnBrk="1" latinLnBrk="0" hangingPunct="1">
        <a:defRPr sz="1800" kern="1200">
          <a:solidFill>
            <a:schemeClr val="tx1"/>
          </a:solidFill>
          <a:latin typeface="+mn-lt"/>
          <a:ea typeface="+mn-ea"/>
          <a:cs typeface="+mn-cs"/>
        </a:defRPr>
      </a:lvl7pPr>
      <a:lvl8pPr marL="3199851" algn="l" defTabSz="457120" rtl="0" eaLnBrk="1" latinLnBrk="0" hangingPunct="1">
        <a:defRPr sz="1800" kern="1200">
          <a:solidFill>
            <a:schemeClr val="tx1"/>
          </a:solidFill>
          <a:latin typeface="+mn-lt"/>
          <a:ea typeface="+mn-ea"/>
          <a:cs typeface="+mn-cs"/>
        </a:defRPr>
      </a:lvl8pPr>
      <a:lvl9pPr marL="3656973" algn="l" defTabSz="45712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25759943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collab.ucsd.edu/display/SOCM/ESR+Roles+and+Responsibilities" TargetMode="External"/><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30.xml"/><Relationship Id="rId6" Type="http://schemas.openxmlformats.org/officeDocument/2006/relationships/image" Target="../media/image27.png"/><Relationship Id="rId5" Type="http://schemas.openxmlformats.org/officeDocument/2006/relationships/hyperlink" Target="http://esr.ucsd.edu/projects/kuali-research/process/index.html" TargetMode="Externa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30.xml"/><Relationship Id="rId6" Type="http://schemas.openxmlformats.org/officeDocument/2006/relationships/image" Target="../media/image27.png"/><Relationship Id="rId5" Type="http://schemas.openxmlformats.org/officeDocument/2006/relationships/hyperlink" Target="http://esr.ucsd.edu/projects/kuali-research/process/index.html" TargetMode="Externa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30.xml"/><Relationship Id="rId5" Type="http://schemas.openxmlformats.org/officeDocument/2006/relationships/image" Target="../media/image22.pn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8" Type="http://schemas.microsoft.com/office/2007/relationships/hdphoto" Target="../media/hdphoto2.wdp"/><Relationship Id="rId3" Type="http://schemas.microsoft.com/office/2007/relationships/hdphoto" Target="../media/hdphoto1.wdp"/><Relationship Id="rId7"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Layout" Target="../slideLayouts/slideLayout3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1.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9.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3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9.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9.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39.png"/><Relationship Id="rId7" Type="http://schemas.openxmlformats.org/officeDocument/2006/relationships/image" Target="../media/image58.png"/><Relationship Id="rId2" Type="http://schemas.openxmlformats.org/officeDocument/2006/relationships/image" Target="../media/image55.png"/><Relationship Id="rId1" Type="http://schemas.openxmlformats.org/officeDocument/2006/relationships/slideLayout" Target="../slideLayouts/slideLayout30.xml"/><Relationship Id="rId6" Type="http://schemas.openxmlformats.org/officeDocument/2006/relationships/image" Target="../media/image22.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9.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8" Type="http://schemas.openxmlformats.org/officeDocument/2006/relationships/hyperlink" Target="http://esr.ucsd.edu/projects/kuali-research/index.html" TargetMode="External"/><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31.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31.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48.xml.rels><?xml version="1.0" encoding="UTF-8" standalone="yes"?>
<Relationships xmlns="http://schemas.openxmlformats.org/package/2006/relationships"><Relationship Id="rId3" Type="http://schemas.openxmlformats.org/officeDocument/2006/relationships/hyperlink" Target="mailto:jjford@ucsd.edu" TargetMode="External"/><Relationship Id="rId2" Type="http://schemas.openxmlformats.org/officeDocument/2006/relationships/hyperlink" Target="mailto:njoyce@ucsd.edu" TargetMode="External"/><Relationship Id="rId1" Type="http://schemas.openxmlformats.org/officeDocument/2006/relationships/slideLayout" Target="../slideLayouts/slideLayout34.xml"/><Relationship Id="rId4" Type="http://schemas.openxmlformats.org/officeDocument/2006/relationships/hyperlink" Target="mailto:kkantelo@ucsd.edu"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bout </a:t>
            </a:r>
            <a:r>
              <a:rPr lang="en-US" dirty="0" err="1" smtClean="0"/>
              <a:t>Kuali</a:t>
            </a:r>
            <a:r>
              <a:rPr lang="en-US" dirty="0" smtClean="0"/>
              <a:t> Research</a:t>
            </a:r>
            <a:endParaRPr lang="en-US" dirty="0"/>
          </a:p>
        </p:txBody>
      </p:sp>
      <p:sp>
        <p:nvSpPr>
          <p:cNvPr id="3" name="Subtitle 2"/>
          <p:cNvSpPr>
            <a:spLocks noGrp="1"/>
          </p:cNvSpPr>
          <p:nvPr>
            <p:ph type="subTitle" idx="1"/>
          </p:nvPr>
        </p:nvSpPr>
        <p:spPr/>
        <p:txBody>
          <a:bodyPr/>
          <a:lstStyle/>
          <a:p>
            <a:r>
              <a:rPr lang="en-US" i="1" dirty="0" smtClean="0"/>
              <a:t>Here’s what you need to know</a:t>
            </a:r>
          </a:p>
        </p:txBody>
      </p:sp>
    </p:spTree>
    <p:extLst>
      <p:ext uri="{BB962C8B-B14F-4D97-AF65-F5344CB8AC3E}">
        <p14:creationId xmlns:p14="http://schemas.microsoft.com/office/powerpoint/2010/main" val="29913811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Kuali</a:t>
            </a:r>
            <a:r>
              <a:rPr lang="en-US" dirty="0" smtClean="0"/>
              <a:t> Research Project Scope</a:t>
            </a:r>
            <a:endParaRPr lang="en-US" dirty="0"/>
          </a:p>
        </p:txBody>
      </p:sp>
      <p:pic>
        <p:nvPicPr>
          <p:cNvPr id="11" name="Content Placeholder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8225" y="700923"/>
            <a:ext cx="11801711" cy="6157077"/>
          </a:xfrm>
        </p:spPr>
      </p:pic>
      <p:sp>
        <p:nvSpPr>
          <p:cNvPr id="3" name="Folded Corner 2"/>
          <p:cNvSpPr/>
          <p:nvPr/>
        </p:nvSpPr>
        <p:spPr>
          <a:xfrm rot="20505969">
            <a:off x="10139888" y="5412439"/>
            <a:ext cx="1310215" cy="1166490"/>
          </a:xfrm>
          <a:prstGeom prst="foldedCorner">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rPr>
              <a:t>KR is web based so you can access on the go!</a:t>
            </a:r>
            <a:endParaRPr lang="en-US" sz="1400" dirty="0">
              <a:solidFill>
                <a:schemeClr val="tx2"/>
              </a:solidFill>
            </a:endParaRPr>
          </a:p>
        </p:txBody>
      </p:sp>
    </p:spTree>
    <p:extLst>
      <p:ext uri="{BB962C8B-B14F-4D97-AF65-F5344CB8AC3E}">
        <p14:creationId xmlns:p14="http://schemas.microsoft.com/office/powerpoint/2010/main" val="17885428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854619389"/>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Project team engages vendor partners in planning, including </a:t>
            </a:r>
            <a:r>
              <a:rPr lang="en-US" smtClean="0"/>
              <a:t>business process </a:t>
            </a:r>
            <a:r>
              <a:rPr lang="en-US" dirty="0"/>
              <a:t>design team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11</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Plan</a:t>
            </a:r>
            <a:endParaRPr lang="en-US" dirty="0"/>
          </a:p>
        </p:txBody>
      </p:sp>
      <p:sp>
        <p:nvSpPr>
          <p:cNvPr id="6" name="TextBox 5"/>
          <p:cNvSpPr txBox="1"/>
          <p:nvPr/>
        </p:nvSpPr>
        <p:spPr>
          <a:xfrm>
            <a:off x="1583700" y="5506861"/>
            <a:ext cx="1176746" cy="253916"/>
          </a:xfrm>
          <a:prstGeom prst="rect">
            <a:avLst/>
          </a:prstGeom>
          <a:noFill/>
        </p:spPr>
        <p:txBody>
          <a:bodyPr wrap="square" rtlCol="0">
            <a:spAutoFit/>
          </a:bodyPr>
          <a:lstStyle/>
          <a:p>
            <a:pPr algn="ctr"/>
            <a:r>
              <a:rPr lang="en-US" sz="1050" dirty="0">
                <a:solidFill>
                  <a:srgbClr val="2E75B6"/>
                </a:solidFill>
              </a:rPr>
              <a:t>Jan – Mar 2018</a:t>
            </a:r>
          </a:p>
        </p:txBody>
      </p:sp>
    </p:spTree>
    <p:extLst>
      <p:ext uri="{BB962C8B-B14F-4D97-AF65-F5344CB8AC3E}">
        <p14:creationId xmlns:p14="http://schemas.microsoft.com/office/powerpoint/2010/main" val="24455893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Isosceles Triangle 139"/>
          <p:cNvSpPr/>
          <p:nvPr/>
        </p:nvSpPr>
        <p:spPr>
          <a:xfrm>
            <a:off x="5225563" y="4406628"/>
            <a:ext cx="2157494" cy="198433"/>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mj-lt"/>
            </a:endParaRPr>
          </a:p>
        </p:txBody>
      </p:sp>
      <p:sp>
        <p:nvSpPr>
          <p:cNvPr id="11" name="Pentagon 10"/>
          <p:cNvSpPr/>
          <p:nvPr/>
        </p:nvSpPr>
        <p:spPr>
          <a:xfrm rot="10800000">
            <a:off x="7362923" y="3583917"/>
            <a:ext cx="4389462" cy="597780"/>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70">
              <a:defRPr/>
            </a:pPr>
            <a:endParaRPr lang="en-US" sz="2400" kern="0" dirty="0">
              <a:solidFill>
                <a:sysClr val="windowText" lastClr="000000"/>
              </a:solidFill>
              <a:latin typeface="+mj-lt"/>
            </a:endParaRPr>
          </a:p>
        </p:txBody>
      </p:sp>
      <p:sp>
        <p:nvSpPr>
          <p:cNvPr id="98" name="Isosceles Triangle 97"/>
          <p:cNvSpPr/>
          <p:nvPr/>
        </p:nvSpPr>
        <p:spPr>
          <a:xfrm rot="10800000">
            <a:off x="5186330" y="3143943"/>
            <a:ext cx="2235960" cy="207038"/>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mj-lt"/>
            </a:endParaRPr>
          </a:p>
        </p:txBody>
      </p:sp>
      <p:graphicFrame>
        <p:nvGraphicFramePr>
          <p:cNvPr id="5" name="Object 4"/>
          <p:cNvGraphicFramePr>
            <a:graphicFrameLocks noChangeAspect="1"/>
          </p:cNvGraphicFramePr>
          <p:nvPr>
            <p:custDataLst>
              <p:tags r:id="rId2"/>
            </p:custDataLst>
            <p:extLst/>
          </p:nvPr>
        </p:nvGraphicFramePr>
        <p:xfrm>
          <a:off x="1743255" y="-692432"/>
          <a:ext cx="1511" cy="1511"/>
        </p:xfrm>
        <a:graphic>
          <a:graphicData uri="http://schemas.openxmlformats.org/presentationml/2006/ole">
            <mc:AlternateContent xmlns:mc="http://schemas.openxmlformats.org/markup-compatibility/2006">
              <mc:Choice xmlns:v="urn:schemas-microsoft-com:vml" Requires="v">
                <p:oleObj spid="_x0000_s2085" name="think-cell Slide" r:id="rId5" imgW="360" imgH="360" progId="">
                  <p:embed/>
                </p:oleObj>
              </mc:Choice>
              <mc:Fallback>
                <p:oleObj name="think-cell Slide" r:id="rId5" imgW="360" imgH="360" progId="">
                  <p:embed/>
                  <p:pic>
                    <p:nvPicPr>
                      <p:cNvPr id="5"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255" y="-692432"/>
                        <a:ext cx="1511" cy="15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p:cNvSpPr/>
          <p:nvPr/>
        </p:nvSpPr>
        <p:spPr>
          <a:xfrm>
            <a:off x="7684533"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a:t>
            </a:r>
            <a:r>
              <a:rPr lang="en-US" sz="800" kern="0" dirty="0">
                <a:solidFill>
                  <a:schemeClr val="tx1">
                    <a:lumMod val="75000"/>
                  </a:schemeClr>
                </a:solidFill>
                <a:latin typeface="+mj-lt"/>
              </a:rPr>
              <a:t>| </a:t>
            </a:r>
            <a:r>
              <a:rPr lang="en-US" sz="800" kern="0" dirty="0" smtClean="0">
                <a:solidFill>
                  <a:schemeClr val="tx1">
                    <a:lumMod val="75000"/>
                  </a:schemeClr>
                </a:solidFill>
                <a:latin typeface="+mj-lt"/>
              </a:rPr>
              <a:t>Project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Kaci Foster</a:t>
            </a:r>
            <a:endParaRPr lang="en-US" sz="1100" kern="0" dirty="0">
              <a:solidFill>
                <a:schemeClr val="tx1">
                  <a:lumMod val="75000"/>
                </a:schemeClr>
              </a:solidFill>
              <a:latin typeface="+mj-lt"/>
            </a:endParaRPr>
          </a:p>
        </p:txBody>
      </p:sp>
      <p:grpSp>
        <p:nvGrpSpPr>
          <p:cNvPr id="7" name="Group 6"/>
          <p:cNvGrpSpPr/>
          <p:nvPr/>
        </p:nvGrpSpPr>
        <p:grpSpPr>
          <a:xfrm>
            <a:off x="3630982" y="992989"/>
            <a:ext cx="4930037" cy="639457"/>
            <a:chOff x="994954" y="1223340"/>
            <a:chExt cx="5490074" cy="1122175"/>
          </a:xfrm>
          <a:noFill/>
        </p:grpSpPr>
        <p:sp>
          <p:nvSpPr>
            <p:cNvPr id="6" name="Rounded Rectangle 5"/>
            <p:cNvSpPr/>
            <p:nvPr/>
          </p:nvSpPr>
          <p:spPr>
            <a:xfrm>
              <a:off x="994954" y="1223340"/>
              <a:ext cx="5490074" cy="1122175"/>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50" name="Rectangle 49"/>
            <p:cNvSpPr>
              <a:spLocks noChangeArrowheads="1"/>
            </p:cNvSpPr>
            <p:nvPr/>
          </p:nvSpPr>
          <p:spPr bwMode="gray">
            <a:xfrm>
              <a:off x="994954" y="1252296"/>
              <a:ext cx="1291222"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Sponsor</a:t>
              </a:r>
              <a:endParaRPr lang="en-GB" sz="1600" b="1" kern="0" dirty="0">
                <a:solidFill>
                  <a:sysClr val="windowText" lastClr="000000"/>
                </a:solidFill>
                <a:latin typeface="+mj-lt"/>
                <a:cs typeface="Arial" panose="020B0604020202020204" pitchFamily="34" charset="0"/>
              </a:endParaRPr>
            </a:p>
          </p:txBody>
        </p:sp>
        <p:sp>
          <p:nvSpPr>
            <p:cNvPr id="52" name="Rectangle 51"/>
            <p:cNvSpPr/>
            <p:nvPr/>
          </p:nvSpPr>
          <p:spPr>
            <a:xfrm>
              <a:off x="2920707" y="1419080"/>
              <a:ext cx="1527410" cy="802334"/>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Sandra A. Brown</a:t>
              </a:r>
              <a:endParaRPr lang="en-US" sz="1100" kern="0" dirty="0">
                <a:solidFill>
                  <a:schemeClr val="tx1">
                    <a:lumMod val="75000"/>
                  </a:schemeClr>
                </a:solidFill>
                <a:latin typeface="+mj-lt"/>
              </a:endParaRPr>
            </a:p>
          </p:txBody>
        </p:sp>
      </p:grpSp>
      <p:grpSp>
        <p:nvGrpSpPr>
          <p:cNvPr id="62" name="Group 61"/>
          <p:cNvGrpSpPr/>
          <p:nvPr/>
        </p:nvGrpSpPr>
        <p:grpSpPr>
          <a:xfrm>
            <a:off x="2072983" y="1735367"/>
            <a:ext cx="8046035" cy="640750"/>
            <a:chOff x="1085330" y="1041543"/>
            <a:chExt cx="9673839" cy="1281313"/>
          </a:xfrm>
          <a:noFill/>
        </p:grpSpPr>
        <p:sp>
          <p:nvSpPr>
            <p:cNvPr id="78" name="Rounded Rectangle 77"/>
            <p:cNvSpPr/>
            <p:nvPr/>
          </p:nvSpPr>
          <p:spPr>
            <a:xfrm>
              <a:off x="1085330" y="104154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79" name="Rectangle 78"/>
            <p:cNvSpPr>
              <a:spLocks noChangeArrowheads="1"/>
            </p:cNvSpPr>
            <p:nvPr/>
          </p:nvSpPr>
          <p:spPr bwMode="gray">
            <a:xfrm>
              <a:off x="1127772" y="1123375"/>
              <a:ext cx="1490526" cy="1064261"/>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a:solidFill>
                    <a:sysClr val="windowText" lastClr="000000"/>
                  </a:solidFill>
                  <a:latin typeface="+mj-lt"/>
                  <a:cs typeface="Arial" panose="020B0604020202020204" pitchFamily="34" charset="0"/>
                </a:rPr>
                <a:t>Escalation</a:t>
              </a:r>
            </a:p>
          </p:txBody>
        </p:sp>
        <p:sp>
          <p:nvSpPr>
            <p:cNvPr id="82" name="Rectangle 81"/>
            <p:cNvSpPr/>
            <p:nvPr/>
          </p:nvSpPr>
          <p:spPr>
            <a:xfrm>
              <a:off x="3194132"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Laurie Owen</a:t>
              </a:r>
              <a:endParaRPr lang="en-US" sz="1100" kern="0" dirty="0">
                <a:solidFill>
                  <a:schemeClr val="tx1">
                    <a:lumMod val="75000"/>
                  </a:schemeClr>
                </a:solidFill>
                <a:latin typeface="+mj-lt"/>
              </a:endParaRPr>
            </a:p>
          </p:txBody>
        </p:sp>
        <p:sp>
          <p:nvSpPr>
            <p:cNvPr id="84" name="Rectangle 83"/>
            <p:cNvSpPr/>
            <p:nvPr/>
          </p:nvSpPr>
          <p:spPr>
            <a:xfrm>
              <a:off x="6988680"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ne Footer</a:t>
              </a:r>
              <a:endParaRPr lang="en-US" sz="1100" kern="0" dirty="0">
                <a:solidFill>
                  <a:schemeClr val="tx1">
                    <a:lumMod val="75000"/>
                  </a:schemeClr>
                </a:solidFill>
                <a:latin typeface="+mj-lt"/>
              </a:endParaRPr>
            </a:p>
          </p:txBody>
        </p:sp>
        <p:sp>
          <p:nvSpPr>
            <p:cNvPr id="95" name="Rectangle 94"/>
            <p:cNvSpPr/>
            <p:nvPr/>
          </p:nvSpPr>
          <p:spPr>
            <a:xfrm>
              <a:off x="5091406"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Gene Hasegawa</a:t>
              </a:r>
              <a:endParaRPr lang="en-US" sz="1100" kern="0" dirty="0">
                <a:solidFill>
                  <a:schemeClr val="tx1">
                    <a:lumMod val="75000"/>
                  </a:schemeClr>
                </a:solidFill>
                <a:latin typeface="+mj-lt"/>
              </a:endParaRPr>
            </a:p>
          </p:txBody>
        </p:sp>
      </p:grpSp>
      <p:grpSp>
        <p:nvGrpSpPr>
          <p:cNvPr id="8" name="Group 7"/>
          <p:cNvGrpSpPr/>
          <p:nvPr/>
        </p:nvGrpSpPr>
        <p:grpSpPr>
          <a:xfrm>
            <a:off x="487680" y="2407575"/>
            <a:ext cx="11028817" cy="696069"/>
            <a:chOff x="487680" y="2615745"/>
            <a:chExt cx="11573419" cy="696069"/>
          </a:xfrm>
        </p:grpSpPr>
        <p:grpSp>
          <p:nvGrpSpPr>
            <p:cNvPr id="63" name="Group 62">
              <a:extLst>
                <a:ext uri="{FF2B5EF4-FFF2-40B4-BE49-F238E27FC236}">
                  <a16:creationId xmlns:a16="http://schemas.microsoft.com/office/drawing/2014/main" id="{9289215D-13FD-46D5-B9BC-CDD4D7ED39B1}"/>
                </a:ext>
              </a:extLst>
            </p:cNvPr>
            <p:cNvGrpSpPr/>
            <p:nvPr/>
          </p:nvGrpSpPr>
          <p:grpSpPr>
            <a:xfrm>
              <a:off x="487680" y="2615745"/>
              <a:ext cx="11573419" cy="696069"/>
              <a:chOff x="905480" y="1095659"/>
              <a:chExt cx="9760646" cy="1391937"/>
            </a:xfrm>
            <a:noFill/>
          </p:grpSpPr>
          <p:sp>
            <p:nvSpPr>
              <p:cNvPr id="64" name="Rounded Rectangle 77">
                <a:extLst>
                  <a:ext uri="{FF2B5EF4-FFF2-40B4-BE49-F238E27FC236}">
                    <a16:creationId xmlns:a16="http://schemas.microsoft.com/office/drawing/2014/main" id="{853C6E9D-185A-4667-BDCD-411A72F7614C}"/>
                  </a:ext>
                </a:extLst>
              </p:cNvPr>
              <p:cNvSpPr/>
              <p:nvPr/>
            </p:nvSpPr>
            <p:spPr>
              <a:xfrm>
                <a:off x="9922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69" name="Rectangle 68">
                <a:extLst>
                  <a:ext uri="{FF2B5EF4-FFF2-40B4-BE49-F238E27FC236}">
                    <a16:creationId xmlns:a16="http://schemas.microsoft.com/office/drawing/2014/main" id="{B3F42CAC-82DC-46B9-B7D5-3CA6729A7070}"/>
                  </a:ext>
                </a:extLst>
              </p:cNvPr>
              <p:cNvSpPr>
                <a:spLocks noChangeArrowheads="1"/>
              </p:cNvSpPr>
              <p:nvPr/>
            </p:nvSpPr>
            <p:spPr bwMode="gray">
              <a:xfrm>
                <a:off x="905480" y="1095659"/>
                <a:ext cx="1314761"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Governance</a:t>
                </a:r>
                <a:endParaRPr lang="en-GB" sz="1400" b="1" kern="0" dirty="0">
                  <a:solidFill>
                    <a:sysClr val="windowText" lastClr="000000"/>
                  </a:solidFill>
                  <a:latin typeface="+mj-lt"/>
                  <a:cs typeface="Arial" panose="020B0604020202020204" pitchFamily="34" charset="0"/>
                </a:endParaRPr>
              </a:p>
            </p:txBody>
          </p:sp>
          <p:sp>
            <p:nvSpPr>
              <p:cNvPr id="70" name="Rectangle 69">
                <a:extLst>
                  <a:ext uri="{FF2B5EF4-FFF2-40B4-BE49-F238E27FC236}">
                    <a16:creationId xmlns:a16="http://schemas.microsoft.com/office/drawing/2014/main" id="{03667E33-867C-4481-AA63-3BDE277DAA9A}"/>
                  </a:ext>
                </a:extLst>
              </p:cNvPr>
              <p:cNvSpPr/>
              <p:nvPr/>
            </p:nvSpPr>
            <p:spPr>
              <a:xfrm>
                <a:off x="2508920" y="1384287"/>
                <a:ext cx="667313" cy="914268"/>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Linda </a:t>
                </a:r>
              </a:p>
              <a:p>
                <a:pPr algn="ctr" defTabSz="1219170">
                  <a:defRPr/>
                </a:pPr>
                <a:r>
                  <a:rPr lang="en-US" sz="1100" kern="0" dirty="0" smtClean="0">
                    <a:solidFill>
                      <a:schemeClr val="tx1">
                        <a:lumMod val="75000"/>
                      </a:schemeClr>
                    </a:solidFill>
                    <a:latin typeface="+mj-lt"/>
                  </a:rPr>
                  <a:t>Collins</a:t>
                </a:r>
                <a:endParaRPr lang="en-US" sz="1100" kern="0" dirty="0">
                  <a:solidFill>
                    <a:schemeClr val="tx1">
                      <a:lumMod val="75000"/>
                    </a:schemeClr>
                  </a:solidFill>
                  <a:latin typeface="+mj-lt"/>
                </a:endParaRPr>
              </a:p>
            </p:txBody>
          </p:sp>
        </p:grpSp>
        <p:sp>
          <p:nvSpPr>
            <p:cNvPr id="85" name="Rectangle 84">
              <a:extLst>
                <a:ext uri="{FF2B5EF4-FFF2-40B4-BE49-F238E27FC236}">
                  <a16:creationId xmlns:a16="http://schemas.microsoft.com/office/drawing/2014/main" id="{6408630C-F54B-4DBB-9940-EC994B042ECB}"/>
                </a:ext>
              </a:extLst>
            </p:cNvPr>
            <p:cNvSpPr/>
            <p:nvPr/>
          </p:nvSpPr>
          <p:spPr>
            <a:xfrm>
              <a:off x="329254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Erika </a:t>
              </a:r>
            </a:p>
            <a:p>
              <a:pPr algn="ctr" defTabSz="1219170">
                <a:defRPr/>
              </a:pPr>
              <a:r>
                <a:rPr lang="en-US" sz="1100" kern="0" dirty="0" smtClean="0">
                  <a:solidFill>
                    <a:schemeClr val="tx1">
                      <a:lumMod val="75000"/>
                    </a:schemeClr>
                  </a:solidFill>
                  <a:latin typeface="+mj-lt"/>
                </a:rPr>
                <a:t>Wilson</a:t>
              </a:r>
              <a:endParaRPr lang="en-US" sz="1100" kern="0" dirty="0">
                <a:solidFill>
                  <a:schemeClr val="tx1">
                    <a:lumMod val="75000"/>
                  </a:schemeClr>
                </a:solidFill>
                <a:latin typeface="+mj-lt"/>
              </a:endParaRPr>
            </a:p>
          </p:txBody>
        </p:sp>
        <p:sp>
          <p:nvSpPr>
            <p:cNvPr id="88" name="Rectangle 87">
              <a:extLst>
                <a:ext uri="{FF2B5EF4-FFF2-40B4-BE49-F238E27FC236}">
                  <a16:creationId xmlns:a16="http://schemas.microsoft.com/office/drawing/2014/main" id="{3EE3C8C0-64A6-4328-AF50-AB3E17CE2A09}"/>
                </a:ext>
              </a:extLst>
            </p:cNvPr>
            <p:cNvSpPr/>
            <p:nvPr/>
          </p:nvSpPr>
          <p:spPr>
            <a:xfrm>
              <a:off x="511403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Marissa Prough</a:t>
              </a:r>
              <a:endParaRPr lang="en-US" sz="1100" kern="0" dirty="0">
                <a:solidFill>
                  <a:schemeClr val="tx1">
                    <a:lumMod val="75000"/>
                  </a:schemeClr>
                </a:solidFill>
                <a:latin typeface="+mj-lt"/>
              </a:endParaRPr>
            </a:p>
          </p:txBody>
        </p:sp>
        <p:sp>
          <p:nvSpPr>
            <p:cNvPr id="89" name="Rectangle 88">
              <a:extLst>
                <a:ext uri="{FF2B5EF4-FFF2-40B4-BE49-F238E27FC236}">
                  <a16:creationId xmlns:a16="http://schemas.microsoft.com/office/drawing/2014/main" id="{C3119FEA-B128-43C2-94CA-5DBF20D01C12}"/>
                </a:ext>
              </a:extLst>
            </p:cNvPr>
            <p:cNvSpPr/>
            <p:nvPr/>
          </p:nvSpPr>
          <p:spPr>
            <a:xfrm>
              <a:off x="6935524"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Maryam Attari</a:t>
              </a:r>
              <a:endParaRPr lang="en-US" sz="1100" kern="0" dirty="0">
                <a:solidFill>
                  <a:schemeClr val="tx1">
                    <a:lumMod val="75000"/>
                  </a:schemeClr>
                </a:solidFill>
                <a:latin typeface="+mj-lt"/>
              </a:endParaRPr>
            </a:p>
          </p:txBody>
        </p:sp>
        <p:sp>
          <p:nvSpPr>
            <p:cNvPr id="102" name="Rectangle 101">
              <a:extLst>
                <a:ext uri="{FF2B5EF4-FFF2-40B4-BE49-F238E27FC236}">
                  <a16:creationId xmlns:a16="http://schemas.microsoft.com/office/drawing/2014/main" id="{36A02FC9-2D16-4FD7-91EA-7FBFF8C4B231}"/>
                </a:ext>
              </a:extLst>
            </p:cNvPr>
            <p:cNvSpPr/>
            <p:nvPr/>
          </p:nvSpPr>
          <p:spPr>
            <a:xfrm>
              <a:off x="420328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ne </a:t>
              </a:r>
            </a:p>
            <a:p>
              <a:pPr algn="ctr" defTabSz="1219170">
                <a:defRPr/>
              </a:pPr>
              <a:r>
                <a:rPr lang="en-US" sz="1100" kern="0" dirty="0" smtClean="0">
                  <a:solidFill>
                    <a:schemeClr val="tx1">
                      <a:lumMod val="75000"/>
                    </a:schemeClr>
                  </a:solidFill>
                  <a:latin typeface="+mj-lt"/>
                </a:rPr>
                <a:t>Footer</a:t>
              </a:r>
              <a:endParaRPr lang="en-US" sz="1100" kern="0" dirty="0">
                <a:solidFill>
                  <a:schemeClr val="tx1">
                    <a:lumMod val="75000"/>
                  </a:schemeClr>
                </a:solidFill>
                <a:latin typeface="+mj-lt"/>
              </a:endParaRPr>
            </a:p>
          </p:txBody>
        </p:sp>
        <p:sp>
          <p:nvSpPr>
            <p:cNvPr id="107" name="Rectangle 106">
              <a:extLst>
                <a:ext uri="{FF2B5EF4-FFF2-40B4-BE49-F238E27FC236}">
                  <a16:creationId xmlns:a16="http://schemas.microsoft.com/office/drawing/2014/main" id="{285629E9-BCD7-4530-AAAD-879537611BC1}"/>
                </a:ext>
              </a:extLst>
            </p:cNvPr>
            <p:cNvSpPr/>
            <p:nvPr/>
          </p:nvSpPr>
          <p:spPr>
            <a:xfrm>
              <a:off x="7838471"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Eric </a:t>
              </a:r>
            </a:p>
            <a:p>
              <a:pPr algn="ctr" defTabSz="1219170">
                <a:defRPr/>
              </a:pPr>
              <a:r>
                <a:rPr lang="en-US" sz="1100" kern="0" dirty="0" smtClean="0">
                  <a:solidFill>
                    <a:schemeClr val="tx1">
                      <a:lumMod val="75000"/>
                    </a:schemeClr>
                  </a:solidFill>
                  <a:latin typeface="+mj-lt"/>
                </a:rPr>
                <a:t>Mah</a:t>
              </a:r>
              <a:endParaRPr lang="en-US" sz="1100" kern="0" dirty="0">
                <a:solidFill>
                  <a:schemeClr val="tx1">
                    <a:lumMod val="75000"/>
                  </a:schemeClr>
                </a:solidFill>
                <a:latin typeface="+mj-lt"/>
              </a:endParaRPr>
            </a:p>
          </p:txBody>
        </p:sp>
        <p:sp>
          <p:nvSpPr>
            <p:cNvPr id="111" name="Rectangle 110">
              <a:extLst>
                <a:ext uri="{FF2B5EF4-FFF2-40B4-BE49-F238E27FC236}">
                  <a16:creationId xmlns:a16="http://schemas.microsoft.com/office/drawing/2014/main" id="{1ED684D1-5BF4-4CF4-BA76-FE28760B2B4E}"/>
                </a:ext>
              </a:extLst>
            </p:cNvPr>
            <p:cNvSpPr/>
            <p:nvPr/>
          </p:nvSpPr>
          <p:spPr>
            <a:xfrm>
              <a:off x="8749216"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gela McMahill</a:t>
              </a:r>
              <a:endParaRPr lang="en-US" sz="1100" kern="0" dirty="0">
                <a:solidFill>
                  <a:schemeClr val="tx1">
                    <a:lumMod val="75000"/>
                  </a:schemeClr>
                </a:solidFill>
                <a:latin typeface="+mj-lt"/>
              </a:endParaRPr>
            </a:p>
          </p:txBody>
        </p:sp>
        <p:sp>
          <p:nvSpPr>
            <p:cNvPr id="115" name="Rectangle 114">
              <a:extLst>
                <a:ext uri="{FF2B5EF4-FFF2-40B4-BE49-F238E27FC236}">
                  <a16:creationId xmlns:a16="http://schemas.microsoft.com/office/drawing/2014/main" id="{000E53FB-DB93-4A74-854F-29831C1CD9C1}"/>
                </a:ext>
              </a:extLst>
            </p:cNvPr>
            <p:cNvSpPr/>
            <p:nvPr/>
          </p:nvSpPr>
          <p:spPr>
            <a:xfrm>
              <a:off x="602477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Carolyn Sheehan</a:t>
              </a:r>
              <a:endParaRPr lang="en-US" sz="1100" kern="0" dirty="0">
                <a:solidFill>
                  <a:schemeClr val="tx1">
                    <a:lumMod val="75000"/>
                  </a:schemeClr>
                </a:solidFill>
                <a:latin typeface="+mj-lt"/>
              </a:endParaRPr>
            </a:p>
          </p:txBody>
        </p:sp>
      </p:grpSp>
      <p:grpSp>
        <p:nvGrpSpPr>
          <p:cNvPr id="101" name="Group 100">
            <a:extLst>
              <a:ext uri="{FF2B5EF4-FFF2-40B4-BE49-F238E27FC236}">
                <a16:creationId xmlns:a16="http://schemas.microsoft.com/office/drawing/2014/main" id="{9289215D-13FD-46D5-B9BC-CDD4D7ED39B1}"/>
              </a:ext>
            </a:extLst>
          </p:cNvPr>
          <p:cNvGrpSpPr/>
          <p:nvPr/>
        </p:nvGrpSpPr>
        <p:grpSpPr>
          <a:xfrm>
            <a:off x="130899" y="3384121"/>
            <a:ext cx="11930200" cy="966873"/>
            <a:chOff x="979187" y="1206283"/>
            <a:chExt cx="9673839" cy="1281313"/>
          </a:xfrm>
          <a:noFill/>
        </p:grpSpPr>
        <p:sp>
          <p:nvSpPr>
            <p:cNvPr id="103"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125" name="Rectangle 124">
              <a:extLst>
                <a:ext uri="{FF2B5EF4-FFF2-40B4-BE49-F238E27FC236}">
                  <a16:creationId xmlns:a16="http://schemas.microsoft.com/office/drawing/2014/main" id="{B3F42CAC-82DC-46B9-B7D5-3CA6729A7070}"/>
                </a:ext>
              </a:extLst>
            </p:cNvPr>
            <p:cNvSpPr>
              <a:spLocks noChangeArrowheads="1"/>
            </p:cNvSpPr>
            <p:nvPr/>
          </p:nvSpPr>
          <p:spPr bwMode="gray">
            <a:xfrm>
              <a:off x="984497" y="1326290"/>
              <a:ext cx="626386"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Core Team</a:t>
              </a:r>
              <a:endParaRPr lang="en-GB" sz="1600" b="1" kern="0" dirty="0">
                <a:solidFill>
                  <a:sysClr val="windowText" lastClr="000000"/>
                </a:solidFill>
                <a:latin typeface="+mj-lt"/>
                <a:cs typeface="Arial" panose="020B0604020202020204" pitchFamily="34" charset="0"/>
              </a:endParaRPr>
            </a:p>
          </p:txBody>
        </p:sp>
      </p:grpSp>
      <p:graphicFrame>
        <p:nvGraphicFramePr>
          <p:cNvPr id="3" name="Table 2"/>
          <p:cNvGraphicFramePr>
            <a:graphicFrameLocks noGrp="1"/>
          </p:cNvGraphicFramePr>
          <p:nvPr>
            <p:extLst/>
          </p:nvPr>
        </p:nvGraphicFramePr>
        <p:xfrm>
          <a:off x="960666" y="3449134"/>
          <a:ext cx="6295394" cy="822960"/>
        </p:xfrm>
        <a:graphic>
          <a:graphicData uri="http://schemas.openxmlformats.org/drawingml/2006/table">
            <a:tbl>
              <a:tblPr firstRow="1">
                <a:tableStyleId>{21E4AEA4-8DFA-4A89-87EB-49C32662AFE0}</a:tableStyleId>
              </a:tblPr>
              <a:tblGrid>
                <a:gridCol w="670426">
                  <a:extLst>
                    <a:ext uri="{9D8B030D-6E8A-4147-A177-3AD203B41FA5}">
                      <a16:colId xmlns:a16="http://schemas.microsoft.com/office/drawing/2014/main" val="1863849473"/>
                    </a:ext>
                  </a:extLst>
                </a:gridCol>
                <a:gridCol w="576649">
                  <a:extLst>
                    <a:ext uri="{9D8B030D-6E8A-4147-A177-3AD203B41FA5}">
                      <a16:colId xmlns:a16="http://schemas.microsoft.com/office/drawing/2014/main" val="2540199950"/>
                    </a:ext>
                  </a:extLst>
                </a:gridCol>
                <a:gridCol w="757881">
                  <a:extLst>
                    <a:ext uri="{9D8B030D-6E8A-4147-A177-3AD203B41FA5}">
                      <a16:colId xmlns:a16="http://schemas.microsoft.com/office/drawing/2014/main" val="786336833"/>
                    </a:ext>
                  </a:extLst>
                </a:gridCol>
                <a:gridCol w="790832">
                  <a:extLst>
                    <a:ext uri="{9D8B030D-6E8A-4147-A177-3AD203B41FA5}">
                      <a16:colId xmlns:a16="http://schemas.microsoft.com/office/drawing/2014/main" val="772158515"/>
                    </a:ext>
                  </a:extLst>
                </a:gridCol>
                <a:gridCol w="527222">
                  <a:extLst>
                    <a:ext uri="{9D8B030D-6E8A-4147-A177-3AD203B41FA5}">
                      <a16:colId xmlns:a16="http://schemas.microsoft.com/office/drawing/2014/main" val="687812364"/>
                    </a:ext>
                  </a:extLst>
                </a:gridCol>
                <a:gridCol w="659027">
                  <a:extLst>
                    <a:ext uri="{9D8B030D-6E8A-4147-A177-3AD203B41FA5}">
                      <a16:colId xmlns:a16="http://schemas.microsoft.com/office/drawing/2014/main" val="3496308423"/>
                    </a:ext>
                  </a:extLst>
                </a:gridCol>
                <a:gridCol w="749643">
                  <a:extLst>
                    <a:ext uri="{9D8B030D-6E8A-4147-A177-3AD203B41FA5}">
                      <a16:colId xmlns:a16="http://schemas.microsoft.com/office/drawing/2014/main" val="492731094"/>
                    </a:ext>
                  </a:extLst>
                </a:gridCol>
                <a:gridCol w="766119">
                  <a:extLst>
                    <a:ext uri="{9D8B030D-6E8A-4147-A177-3AD203B41FA5}">
                      <a16:colId xmlns:a16="http://schemas.microsoft.com/office/drawing/2014/main" val="20007"/>
                    </a:ext>
                  </a:extLst>
                </a:gridCol>
                <a:gridCol w="797595">
                  <a:extLst>
                    <a:ext uri="{9D8B030D-6E8A-4147-A177-3AD203B41FA5}">
                      <a16:colId xmlns:a16="http://schemas.microsoft.com/office/drawing/2014/main" val="20008"/>
                    </a:ext>
                  </a:extLst>
                </a:gridCol>
              </a:tblGrid>
              <a:tr h="27432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Project Manager</a:t>
                      </a:r>
                      <a:endParaRPr lang="en-US" sz="800" b="1" kern="1200" dirty="0" smtClean="0">
                        <a:solidFill>
                          <a:schemeClr val="tx1"/>
                        </a:solidFill>
                        <a:latin typeface="+mn-lt"/>
                        <a:ea typeface="+mn-ea"/>
                        <a:cs typeface="+mn-cs"/>
                      </a:endParaRPr>
                    </a:p>
                  </a:txBody>
                  <a:tcPr anchor="ctr"/>
                </a:tc>
                <a:tc>
                  <a:txBody>
                    <a:bodyPr/>
                    <a:lstStyle/>
                    <a:p>
                      <a:pPr algn="ctr"/>
                      <a:r>
                        <a:rPr lang="en-US" sz="800" dirty="0" smtClean="0"/>
                        <a:t>Change Lead</a:t>
                      </a:r>
                      <a:endParaRPr lang="en-US" sz="800" dirty="0" smtClean="0">
                        <a:latin typeface="+mj-lt"/>
                      </a:endParaRPr>
                    </a:p>
                  </a:txBody>
                  <a:tcPr anchor="ctr"/>
                </a:tc>
                <a:tc>
                  <a:txBody>
                    <a:bodyPr/>
                    <a:lstStyle/>
                    <a:p>
                      <a:pPr algn="ctr"/>
                      <a:r>
                        <a:rPr lang="en-US" sz="800" kern="1200" dirty="0" smtClean="0"/>
                        <a:t>Change Practitioner</a:t>
                      </a:r>
                      <a:endParaRPr lang="en-US" sz="800" b="1" kern="1200" dirty="0">
                        <a:solidFill>
                          <a:schemeClr val="tx1"/>
                        </a:solidFill>
                        <a:latin typeface="+mn-lt"/>
                        <a:ea typeface="+mn-ea"/>
                        <a:cs typeface="+mn-cs"/>
                      </a:endParaRPr>
                    </a:p>
                  </a:txBody>
                  <a:tcPr anchor="ctr"/>
                </a:tc>
                <a:tc>
                  <a:txBody>
                    <a:bodyPr/>
                    <a:lstStyle/>
                    <a:p>
                      <a:pPr algn="ctr"/>
                      <a:r>
                        <a:rPr lang="en-US" sz="800" dirty="0" smtClean="0"/>
                        <a:t>Change Practitioner</a:t>
                      </a:r>
                      <a:endParaRPr lang="en-US" sz="800" dirty="0">
                        <a:latin typeface="+mj-lt"/>
                      </a:endParaRPr>
                    </a:p>
                  </a:txBody>
                  <a:tcPr anchor="ctr"/>
                </a:tc>
                <a:tc>
                  <a:txBody>
                    <a:bodyPr/>
                    <a:lstStyle/>
                    <a:p>
                      <a:pPr algn="ctr"/>
                      <a:r>
                        <a:rPr lang="en-US" sz="800" dirty="0" smtClean="0"/>
                        <a:t>Bus. Proc.</a:t>
                      </a:r>
                      <a:r>
                        <a:rPr lang="en-US" sz="800" baseline="0" dirty="0" smtClean="0"/>
                        <a:t> Lead</a:t>
                      </a:r>
                      <a:endParaRPr lang="en-US" sz="800" dirty="0">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err="1" smtClean="0"/>
                        <a:t>Config</a:t>
                      </a:r>
                      <a:r>
                        <a:rPr lang="en-US" sz="800" kern="1200" dirty="0" smtClean="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Lead</a:t>
                      </a:r>
                      <a:endParaRPr lang="en-US" sz="800" b="1" kern="1200" dirty="0" smtClean="0">
                        <a:solidFill>
                          <a:schemeClr val="tx1"/>
                        </a:solidFill>
                        <a:latin typeface="+mn-lt"/>
                        <a:ea typeface="+mn-ea"/>
                        <a:cs typeface="+mn-cs"/>
                      </a:endParaRPr>
                    </a:p>
                  </a:txBody>
                  <a:tcPr anchor="ctr"/>
                </a:tc>
                <a:tc>
                  <a:txBody>
                    <a:bodyPr/>
                    <a:lstStyle/>
                    <a:p>
                      <a:pPr algn="ctr"/>
                      <a:r>
                        <a:rPr lang="en-US" sz="800" kern="1200" dirty="0" smtClean="0"/>
                        <a:t>Solutions Architect</a:t>
                      </a:r>
                      <a:endParaRPr lang="en-US" sz="800" b="1" kern="1200" dirty="0">
                        <a:solidFill>
                          <a:schemeClr val="tx1"/>
                        </a:solidFill>
                        <a:latin typeface="+mn-lt"/>
                        <a:ea typeface="+mn-ea"/>
                        <a:cs typeface="+mn-cs"/>
                      </a:endParaRPr>
                    </a:p>
                  </a:txBody>
                  <a:tcPr anchor="ctr"/>
                </a:tc>
                <a:tc>
                  <a:txBody>
                    <a:bodyPr/>
                    <a:lstStyle/>
                    <a:p>
                      <a:pPr algn="ctr"/>
                      <a:r>
                        <a:rPr lang="en-US" sz="800" dirty="0" smtClean="0"/>
                        <a:t>Testing Lead</a:t>
                      </a:r>
                      <a:endParaRPr lang="en-US" sz="800" dirty="0">
                        <a:latin typeface="+mj-lt"/>
                      </a:endParaRPr>
                    </a:p>
                  </a:txBody>
                  <a:tcPr anchor="ctr"/>
                </a:tc>
                <a:tc>
                  <a:txBody>
                    <a:bodyPr/>
                    <a:lstStyle/>
                    <a:p>
                      <a:pPr algn="ctr"/>
                      <a:r>
                        <a:rPr lang="en-US" sz="800" dirty="0" smtClean="0"/>
                        <a:t>Reporting Lead</a:t>
                      </a:r>
                      <a:endParaRPr lang="en-US" sz="800" dirty="0">
                        <a:latin typeface="+mj-lt"/>
                      </a:endParaRPr>
                    </a:p>
                  </a:txBody>
                  <a:tcPr anchor="ctr"/>
                </a:tc>
                <a:extLst>
                  <a:ext uri="{0D108BD9-81ED-4DB2-BD59-A6C34878D82A}">
                    <a16:rowId xmlns:a16="http://schemas.microsoft.com/office/drawing/2014/main" val="244357329"/>
                  </a:ext>
                </a:extLst>
              </a:tr>
              <a:tr h="182880">
                <a:tc>
                  <a:txBody>
                    <a:bodyPr/>
                    <a:lstStyle/>
                    <a:p>
                      <a:pPr algn="ctr"/>
                      <a:r>
                        <a:rPr lang="en-US" sz="900" kern="1200" dirty="0" smtClean="0">
                          <a:solidFill>
                            <a:schemeClr val="tx1">
                              <a:lumMod val="75000"/>
                            </a:schemeClr>
                          </a:solidFill>
                        </a:rPr>
                        <a:t>Susan Oswalt</a:t>
                      </a:r>
                      <a:endParaRPr lang="en-US" sz="900" kern="1200" dirty="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Nicole</a:t>
                      </a:r>
                      <a:r>
                        <a:rPr lang="en-US" sz="900" baseline="0" dirty="0" smtClean="0">
                          <a:solidFill>
                            <a:schemeClr val="tx1">
                              <a:lumMod val="75000"/>
                            </a:schemeClr>
                          </a:solidFill>
                        </a:rPr>
                        <a:t> 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Nicole </a:t>
                      </a:r>
                    </a:p>
                    <a:p>
                      <a:pPr algn="ctr"/>
                      <a:r>
                        <a:rPr lang="en-US" sz="900" dirty="0" smtClean="0">
                          <a:solidFill>
                            <a:schemeClr val="tx1">
                              <a:lumMod val="75000"/>
                            </a:schemeClr>
                          </a:solidFill>
                        </a:rPr>
                        <a:t>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Francisco Mejia</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Jason DeFay</a:t>
                      </a:r>
                      <a:endParaRPr lang="en-US" sz="900" dirty="0">
                        <a:solidFill>
                          <a:schemeClr val="tx1">
                            <a:lumMod val="75000"/>
                          </a:schemeClr>
                        </a:solidFill>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Jason DeFay</a:t>
                      </a:r>
                      <a:endParaRPr lang="en-US" sz="900" kern="1200" dirty="0" smtClean="0">
                        <a:solidFill>
                          <a:schemeClr val="tx1">
                            <a:lumMod val="75000"/>
                          </a:schemeClr>
                        </a:solidFill>
                        <a:latin typeface="+mn-lt"/>
                        <a:ea typeface="+mn-ea"/>
                        <a:cs typeface="+mn-cs"/>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Robert</a:t>
                      </a:r>
                      <a:r>
                        <a:rPr lang="en-US" sz="900" kern="1200" baseline="0" dirty="0" smtClean="0">
                          <a:solidFill>
                            <a:schemeClr val="tx1">
                              <a:lumMod val="75000"/>
                            </a:schemeClr>
                          </a:solidFill>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lumMod val="75000"/>
                            </a:schemeClr>
                          </a:solidFill>
                        </a:rPr>
                        <a:t>Dias</a:t>
                      </a:r>
                      <a:endParaRPr lang="en-US" sz="900" kern="1200" dirty="0" smtClean="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David Edmonson</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Marisol Christinson</a:t>
                      </a:r>
                      <a:endParaRPr lang="en-US" sz="900" dirty="0">
                        <a:solidFill>
                          <a:schemeClr val="tx1">
                            <a:lumMod val="75000"/>
                          </a:schemeClr>
                        </a:solidFill>
                        <a:latin typeface="+mj-lt"/>
                      </a:endParaRPr>
                    </a:p>
                  </a:txBody>
                  <a:tcPr anchor="ctr"/>
                </a:tc>
                <a:extLst>
                  <a:ext uri="{0D108BD9-81ED-4DB2-BD59-A6C34878D82A}">
                    <a16:rowId xmlns:a16="http://schemas.microsoft.com/office/drawing/2014/main" val="3757277798"/>
                  </a:ext>
                </a:extLst>
              </a:tr>
            </a:tbl>
          </a:graphicData>
        </a:graphic>
      </p:graphicFrame>
      <p:graphicFrame>
        <p:nvGraphicFramePr>
          <p:cNvPr id="9" name="Table 8"/>
          <p:cNvGraphicFramePr>
            <a:graphicFrameLocks noGrp="1"/>
          </p:cNvGraphicFramePr>
          <p:nvPr>
            <p:extLst/>
          </p:nvPr>
        </p:nvGraphicFramePr>
        <p:xfrm>
          <a:off x="802418" y="4693758"/>
          <a:ext cx="6118615" cy="2012250"/>
        </p:xfrm>
        <a:graphic>
          <a:graphicData uri="http://schemas.openxmlformats.org/drawingml/2006/table">
            <a:tbl>
              <a:tblPr firstRow="1" bandRow="1">
                <a:tableStyleId>{21E4AEA4-8DFA-4A89-87EB-49C32662AFE0}</a:tableStyleId>
              </a:tblPr>
              <a:tblGrid>
                <a:gridCol w="502180">
                  <a:extLst>
                    <a:ext uri="{9D8B030D-6E8A-4147-A177-3AD203B41FA5}">
                      <a16:colId xmlns:a16="http://schemas.microsoft.com/office/drawing/2014/main" val="3394179786"/>
                    </a:ext>
                  </a:extLst>
                </a:gridCol>
                <a:gridCol w="517589">
                  <a:extLst>
                    <a:ext uri="{9D8B030D-6E8A-4147-A177-3AD203B41FA5}">
                      <a16:colId xmlns:a16="http://schemas.microsoft.com/office/drawing/2014/main" val="2536271846"/>
                    </a:ext>
                  </a:extLst>
                </a:gridCol>
                <a:gridCol w="509885">
                  <a:extLst>
                    <a:ext uri="{9D8B030D-6E8A-4147-A177-3AD203B41FA5}">
                      <a16:colId xmlns:a16="http://schemas.microsoft.com/office/drawing/2014/main" val="3950525204"/>
                    </a:ext>
                  </a:extLst>
                </a:gridCol>
                <a:gridCol w="497097">
                  <a:extLst>
                    <a:ext uri="{9D8B030D-6E8A-4147-A177-3AD203B41FA5}">
                      <a16:colId xmlns:a16="http://schemas.microsoft.com/office/drawing/2014/main" val="278907567"/>
                    </a:ext>
                  </a:extLst>
                </a:gridCol>
                <a:gridCol w="539262">
                  <a:extLst>
                    <a:ext uri="{9D8B030D-6E8A-4147-A177-3AD203B41FA5}">
                      <a16:colId xmlns:a16="http://schemas.microsoft.com/office/drawing/2014/main" val="3260293135"/>
                    </a:ext>
                  </a:extLst>
                </a:gridCol>
                <a:gridCol w="468923">
                  <a:extLst>
                    <a:ext uri="{9D8B030D-6E8A-4147-A177-3AD203B41FA5}">
                      <a16:colId xmlns:a16="http://schemas.microsoft.com/office/drawing/2014/main" val="349384016"/>
                    </a:ext>
                  </a:extLst>
                </a:gridCol>
                <a:gridCol w="593969">
                  <a:extLst>
                    <a:ext uri="{9D8B030D-6E8A-4147-A177-3AD203B41FA5}">
                      <a16:colId xmlns:a16="http://schemas.microsoft.com/office/drawing/2014/main" val="3977400874"/>
                    </a:ext>
                  </a:extLst>
                </a:gridCol>
                <a:gridCol w="620133">
                  <a:extLst>
                    <a:ext uri="{9D8B030D-6E8A-4147-A177-3AD203B41FA5}">
                      <a16:colId xmlns:a16="http://schemas.microsoft.com/office/drawing/2014/main" val="454151636"/>
                    </a:ext>
                  </a:extLst>
                </a:gridCol>
                <a:gridCol w="509885">
                  <a:extLst>
                    <a:ext uri="{9D8B030D-6E8A-4147-A177-3AD203B41FA5}">
                      <a16:colId xmlns:a16="http://schemas.microsoft.com/office/drawing/2014/main" val="1568068229"/>
                    </a:ext>
                  </a:extLst>
                </a:gridCol>
                <a:gridCol w="679846">
                  <a:extLst>
                    <a:ext uri="{9D8B030D-6E8A-4147-A177-3AD203B41FA5}">
                      <a16:colId xmlns:a16="http://schemas.microsoft.com/office/drawing/2014/main" val="1634289987"/>
                    </a:ext>
                  </a:extLst>
                </a:gridCol>
                <a:gridCol w="679846">
                  <a:extLst>
                    <a:ext uri="{9D8B030D-6E8A-4147-A177-3AD203B41FA5}">
                      <a16:colId xmlns:a16="http://schemas.microsoft.com/office/drawing/2014/main" val="20010"/>
                    </a:ext>
                  </a:extLst>
                </a:gridCol>
              </a:tblGrid>
              <a:tr h="412050">
                <a:tc gridSpan="11">
                  <a:txBody>
                    <a:bodyPr/>
                    <a:lstStyle/>
                    <a:p>
                      <a:pPr algn="ctr"/>
                      <a:r>
                        <a:rPr lang="en-US" sz="1100" dirty="0" smtClean="0"/>
                        <a:t>Business Process Review Teams</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dirty="0" smtClean="0"/>
                        <a:t>Lean Bench</a:t>
                      </a:r>
                      <a:r>
                        <a:rPr lang="en-US" sz="1000" baseline="0" dirty="0" smtClean="0"/>
                        <a:t>, </a:t>
                      </a:r>
                      <a:r>
                        <a:rPr lang="en-US" sz="1000" dirty="0" smtClean="0"/>
                        <a:t>SMEs,</a:t>
                      </a:r>
                      <a:r>
                        <a:rPr lang="en-US" sz="1000" baseline="0" dirty="0" smtClean="0"/>
                        <a:t> </a:t>
                      </a:r>
                      <a:r>
                        <a:rPr lang="en-US" sz="1000" dirty="0" smtClean="0"/>
                        <a:t>Bus</a:t>
                      </a:r>
                      <a:r>
                        <a:rPr lang="en-US" sz="1000" baseline="0" dirty="0" smtClean="0"/>
                        <a:t> Proc/</a:t>
                      </a:r>
                      <a:r>
                        <a:rPr lang="en-US" sz="1000" baseline="0" dirty="0" err="1" smtClean="0"/>
                        <a:t>Config</a:t>
                      </a:r>
                      <a:r>
                        <a:rPr lang="en-US" sz="1000" baseline="0" dirty="0" smtClean="0"/>
                        <a:t> Lead, Testing Lead, Reporting Lead</a:t>
                      </a:r>
                      <a:endParaRPr lang="en-US" sz="1000" b="0" dirty="0" smtClean="0"/>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100" b="0" dirty="0" smtClean="0"/>
                    </a:p>
                  </a:txBody>
                  <a:tcPr marL="45720" marR="45720" anchor="ctr"/>
                </a:tc>
                <a:extLst>
                  <a:ext uri="{0D108BD9-81ED-4DB2-BD59-A6C34878D82A}">
                    <a16:rowId xmlns:a16="http://schemas.microsoft.com/office/drawing/2014/main" val="4184158463"/>
                  </a:ext>
                </a:extLst>
              </a:tr>
              <a:tr h="478510">
                <a:tc>
                  <a:txBody>
                    <a:bodyPr/>
                    <a:lstStyle/>
                    <a:p>
                      <a:pPr algn="ctr"/>
                      <a:r>
                        <a:rPr lang="en-US" sz="700" b="0" dirty="0" smtClean="0">
                          <a:solidFill>
                            <a:schemeClr val="tx1">
                              <a:lumMod val="75000"/>
                            </a:schemeClr>
                          </a:solidFill>
                        </a:rPr>
                        <a:t>Determine</a:t>
                      </a:r>
                      <a:r>
                        <a:rPr lang="en-US" sz="700" b="0" baseline="0" dirty="0" smtClean="0">
                          <a:solidFill>
                            <a:schemeClr val="tx1">
                              <a:lumMod val="75000"/>
                            </a:schemeClr>
                          </a:solidFill>
                        </a:rPr>
                        <a:t> Agreement Types 1.3.1</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Route</a:t>
                      </a:r>
                      <a:r>
                        <a:rPr lang="en-US" sz="700" b="0" baseline="0" dirty="0" smtClean="0">
                          <a:solidFill>
                            <a:schemeClr val="tx1">
                              <a:lumMod val="75000"/>
                            </a:schemeClr>
                          </a:solidFill>
                        </a:rPr>
                        <a:t> for Review &amp; Approval 1.3.2</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Develop &amp; Finalize Budget 1.2.1</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Negotiate Award</a:t>
                      </a:r>
                      <a:r>
                        <a:rPr lang="en-US" sz="700" b="0" baseline="0" dirty="0" smtClean="0">
                          <a:solidFill>
                            <a:schemeClr val="tx1">
                              <a:lumMod val="75000"/>
                            </a:schemeClr>
                          </a:solidFill>
                        </a:rPr>
                        <a:t> &amp; Agreement 1.5</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Complete Compliance</a:t>
                      </a:r>
                      <a:r>
                        <a:rPr lang="en-US" sz="700" b="0" baseline="0" dirty="0" smtClean="0">
                          <a:solidFill>
                            <a:schemeClr val="tx1">
                              <a:lumMod val="75000"/>
                            </a:schemeClr>
                          </a:solidFill>
                        </a:rPr>
                        <a:t> Requests 1.2.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PI</a:t>
                      </a:r>
                      <a:r>
                        <a:rPr lang="en-US" sz="700" b="0" baseline="0" dirty="0" smtClean="0">
                          <a:solidFill>
                            <a:schemeClr val="tx1">
                              <a:lumMod val="75000"/>
                            </a:schemeClr>
                          </a:solidFill>
                        </a:rPr>
                        <a:t> Exception Complete Compliance 1.2.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Complete Questionnaires 1.2.4</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Final</a:t>
                      </a:r>
                      <a:r>
                        <a:rPr lang="en-US" sz="700" b="0" baseline="0" dirty="0" smtClean="0">
                          <a:solidFill>
                            <a:schemeClr val="tx1">
                              <a:lumMod val="75000"/>
                            </a:schemeClr>
                          </a:solidFill>
                        </a:rPr>
                        <a:t> Review &amp; Submit to Sponsor 1.3.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Send NOA to Unit 1.6.2</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Revise Budget</a:t>
                      </a:r>
                      <a:r>
                        <a:rPr lang="en-US" sz="700" b="0" baseline="0" dirty="0" smtClean="0">
                          <a:solidFill>
                            <a:schemeClr val="tx1">
                              <a:lumMod val="75000"/>
                            </a:schemeClr>
                          </a:solidFill>
                        </a:rPr>
                        <a:t> 1.4.4</a:t>
                      </a: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Other Documents</a:t>
                      </a:r>
                      <a:r>
                        <a:rPr lang="en-US" sz="700" b="0" baseline="0" dirty="0" smtClean="0">
                          <a:solidFill>
                            <a:schemeClr val="tx1">
                              <a:lumMod val="75000"/>
                            </a:schemeClr>
                          </a:solidFill>
                        </a:rPr>
                        <a:t> for Package 1.2.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54497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Reconcile &amp; Finalize Record</a:t>
                      </a:r>
                      <a:r>
                        <a:rPr lang="en-US" sz="700" b="0" baseline="0" dirty="0" smtClean="0">
                          <a:solidFill>
                            <a:schemeClr val="tx1">
                              <a:lumMod val="75000"/>
                            </a:schemeClr>
                          </a:solidFill>
                        </a:rPr>
                        <a:t> 1.3.4</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Complete Compliance/Protocol Approval 1.4.1</a:t>
                      </a: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Submit</a:t>
                      </a:r>
                      <a:r>
                        <a:rPr lang="en-US" sz="700" b="0" baseline="0" dirty="0" smtClean="0">
                          <a:solidFill>
                            <a:schemeClr val="tx1">
                              <a:lumMod val="75000"/>
                            </a:schemeClr>
                          </a:solidFill>
                        </a:rPr>
                        <a:t> Advanced Spending Requests 1.4.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Create Award 2.1.2</a:t>
                      </a: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Request Fund Set Up</a:t>
                      </a:r>
                      <a:r>
                        <a:rPr lang="en-US" sz="700" b="0" baseline="0" dirty="0" smtClean="0">
                          <a:solidFill>
                            <a:schemeClr val="tx1">
                              <a:lumMod val="75000"/>
                            </a:schemeClr>
                          </a:solidFill>
                        </a:rPr>
                        <a:t> 2.1.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Award Budget</a:t>
                      </a:r>
                      <a:r>
                        <a:rPr lang="en-US" sz="700" b="0" baseline="0" dirty="0" smtClean="0">
                          <a:solidFill>
                            <a:schemeClr val="tx1">
                              <a:lumMod val="75000"/>
                            </a:schemeClr>
                          </a:solidFill>
                        </a:rPr>
                        <a:t> (Allocations) 2.1.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Issuing</a:t>
                      </a:r>
                      <a:r>
                        <a:rPr lang="en-US" sz="700" b="0" baseline="0" dirty="0" smtClean="0">
                          <a:solidFill>
                            <a:schemeClr val="tx1">
                              <a:lumMod val="75000"/>
                            </a:schemeClr>
                          </a:solidFill>
                        </a:rPr>
                        <a:t> &amp; Managing Subawards (outgoing) 2.2.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Manage Changes &amp; Prior</a:t>
                      </a:r>
                      <a:r>
                        <a:rPr lang="en-US" sz="700" b="0" baseline="0" dirty="0" smtClean="0">
                          <a:solidFill>
                            <a:schemeClr val="tx1">
                              <a:lumMod val="75000"/>
                            </a:schemeClr>
                          </a:solidFill>
                        </a:rPr>
                        <a:t> Approvals 2.2.6</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Manages Cost</a:t>
                      </a:r>
                      <a:r>
                        <a:rPr lang="en-US" sz="700" b="0" baseline="0" dirty="0" smtClean="0">
                          <a:solidFill>
                            <a:schemeClr val="tx1">
                              <a:lumMod val="75000"/>
                            </a:schemeClr>
                          </a:solidFill>
                        </a:rPr>
                        <a:t> Sharing 2.3.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Submit</a:t>
                      </a:r>
                      <a:r>
                        <a:rPr lang="en-US" sz="700" b="0" baseline="0" dirty="0" smtClean="0">
                          <a:solidFill>
                            <a:schemeClr val="tx1">
                              <a:lumMod val="75000"/>
                            </a:schemeClr>
                          </a:solidFill>
                        </a:rPr>
                        <a:t> Reports to Sponsor/Agency 2.5.4</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Finalize Sponsor/Agency Reporting 2.6.3</a:t>
                      </a:r>
                    </a:p>
                  </a:txBody>
                  <a:tcPr marL="45720" marR="45720" anchor="ctr"/>
                </a:tc>
                <a:extLst>
                  <a:ext uri="{0D108BD9-81ED-4DB2-BD59-A6C34878D82A}">
                    <a16:rowId xmlns:a16="http://schemas.microsoft.com/office/drawing/2014/main" val="2399912008"/>
                  </a:ext>
                </a:extLst>
              </a:tr>
              <a:tr h="212671">
                <a:tc gridSpan="11">
                  <a:txBody>
                    <a:bodyPr/>
                    <a:lstStyle/>
                    <a:p>
                      <a:pPr algn="ctr"/>
                      <a:r>
                        <a:rPr lang="en-US" sz="1000" dirty="0" err="1" smtClean="0">
                          <a:solidFill>
                            <a:schemeClr val="tx1">
                              <a:lumMod val="75000"/>
                            </a:schemeClr>
                          </a:solidFill>
                        </a:rPr>
                        <a:t>Kuali</a:t>
                      </a:r>
                      <a:r>
                        <a:rPr lang="en-US" sz="1000" dirty="0" smtClean="0">
                          <a:solidFill>
                            <a:schemeClr val="tx1">
                              <a:lumMod val="75000"/>
                            </a:schemeClr>
                          </a:solidFill>
                        </a:rPr>
                        <a:t> Support</a:t>
                      </a:r>
                      <a:endParaRPr lang="en-US" sz="100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1000" b="1" dirty="0">
                        <a:solidFill>
                          <a:schemeClr val="tx1">
                            <a:lumMod val="75000"/>
                          </a:schemeClr>
                        </a:solidFill>
                      </a:endParaRPr>
                    </a:p>
                  </a:txBody>
                  <a:tcPr marL="45720" marR="45720" anchor="ctr"/>
                </a:tc>
                <a:extLst>
                  <a:ext uri="{0D108BD9-81ED-4DB2-BD59-A6C34878D82A}">
                    <a16:rowId xmlns:a16="http://schemas.microsoft.com/office/drawing/2014/main" val="3446402263"/>
                  </a:ext>
                </a:extLst>
              </a:tr>
            </a:tbl>
          </a:graphicData>
        </a:graphic>
      </p:graphicFrame>
      <p:grpSp>
        <p:nvGrpSpPr>
          <p:cNvPr id="134" name="Group 133">
            <a:extLst>
              <a:ext uri="{FF2B5EF4-FFF2-40B4-BE49-F238E27FC236}">
                <a16:creationId xmlns:a16="http://schemas.microsoft.com/office/drawing/2014/main" id="{9289215D-13FD-46D5-B9BC-CDD4D7ED39B1}"/>
              </a:ext>
            </a:extLst>
          </p:cNvPr>
          <p:cNvGrpSpPr/>
          <p:nvPr/>
        </p:nvGrpSpPr>
        <p:grpSpPr>
          <a:xfrm>
            <a:off x="0" y="4647486"/>
            <a:ext cx="12097910" cy="2070608"/>
            <a:chOff x="927092" y="1206283"/>
            <a:chExt cx="9725934" cy="1281313"/>
          </a:xfrm>
          <a:noFill/>
        </p:grpSpPr>
        <p:sp>
          <p:nvSpPr>
            <p:cNvPr id="135"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136" name="Rectangle 135">
              <a:extLst>
                <a:ext uri="{FF2B5EF4-FFF2-40B4-BE49-F238E27FC236}">
                  <a16:creationId xmlns:a16="http://schemas.microsoft.com/office/drawing/2014/main" id="{B3F42CAC-82DC-46B9-B7D5-3CA6729A7070}"/>
                </a:ext>
              </a:extLst>
            </p:cNvPr>
            <p:cNvSpPr>
              <a:spLocks noChangeArrowheads="1"/>
            </p:cNvSpPr>
            <p:nvPr/>
          </p:nvSpPr>
          <p:spPr bwMode="gray">
            <a:xfrm>
              <a:off x="927092" y="1627896"/>
              <a:ext cx="727359" cy="438086"/>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Project Teams</a:t>
              </a:r>
              <a:endParaRPr lang="en-GB" sz="1600" b="1" kern="0" dirty="0">
                <a:solidFill>
                  <a:sysClr val="windowText" lastClr="000000"/>
                </a:solidFill>
                <a:latin typeface="+mj-lt"/>
                <a:cs typeface="Arial" panose="020B0604020202020204" pitchFamily="34" charset="0"/>
              </a:endParaRPr>
            </a:p>
          </p:txBody>
        </p:sp>
      </p:grpSp>
      <p:graphicFrame>
        <p:nvGraphicFramePr>
          <p:cNvPr id="137" name="Table 136"/>
          <p:cNvGraphicFramePr>
            <a:graphicFrameLocks noGrp="1"/>
          </p:cNvGraphicFramePr>
          <p:nvPr>
            <p:extLst/>
          </p:nvPr>
        </p:nvGraphicFramePr>
        <p:xfrm>
          <a:off x="6980758" y="4693758"/>
          <a:ext cx="1828800" cy="1936050"/>
        </p:xfrm>
        <a:graphic>
          <a:graphicData uri="http://schemas.openxmlformats.org/drawingml/2006/table">
            <a:tbl>
              <a:tblPr firstRow="1" bandRow="1">
                <a:tableStyleId>{073A0DAA-6AF3-43AB-8588-CEC1D06C72B9}</a:tableStyleId>
              </a:tblPr>
              <a:tblGrid>
                <a:gridCol w="1828800">
                  <a:extLst>
                    <a:ext uri="{9D8B030D-6E8A-4147-A177-3AD203B41FA5}">
                      <a16:colId xmlns:a16="http://schemas.microsoft.com/office/drawing/2014/main" val="3394179786"/>
                    </a:ext>
                  </a:extLst>
                </a:gridCol>
              </a:tblGrid>
              <a:tr h="1618116">
                <a:tc>
                  <a:txBody>
                    <a:bodyPr/>
                    <a:lstStyle/>
                    <a:p>
                      <a:pPr algn="ctr"/>
                      <a:r>
                        <a:rPr lang="en-US" sz="1200" dirty="0" smtClean="0"/>
                        <a:t>Change Network</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50" b="0" dirty="0" smtClean="0"/>
                        <a:t>Change Lead,</a:t>
                      </a:r>
                      <a:r>
                        <a:rPr lang="en-US" sz="1050" b="0" baseline="0" dirty="0" smtClean="0"/>
                        <a:t> Practitioners, Sponsorship Coalition Lead, Sponsorship Coalition, Change Champions</a:t>
                      </a:r>
                      <a:endParaRPr lang="en-US" sz="1050" b="0" dirty="0" smtClean="0"/>
                    </a:p>
                  </a:txBody>
                  <a:tcPr marL="45720" marR="45720" anchor="ctr"/>
                </a:tc>
                <a:extLst>
                  <a:ext uri="{0D108BD9-81ED-4DB2-BD59-A6C34878D82A}">
                    <a16:rowId xmlns:a16="http://schemas.microsoft.com/office/drawing/2014/main" val="4184158463"/>
                  </a:ext>
                </a:extLst>
              </a:tr>
              <a:tr h="317934">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1" dirty="0" err="1" smtClean="0">
                          <a:solidFill>
                            <a:schemeClr val="tx1">
                              <a:lumMod val="75000"/>
                            </a:schemeClr>
                          </a:solidFill>
                        </a:rPr>
                        <a:t>Kuali</a:t>
                      </a:r>
                      <a:r>
                        <a:rPr lang="en-US" sz="1000" b="1" dirty="0" smtClean="0">
                          <a:solidFill>
                            <a:schemeClr val="tx1">
                              <a:lumMod val="75000"/>
                            </a:schemeClr>
                          </a:solidFill>
                        </a:rPr>
                        <a:t> Support</a:t>
                      </a:r>
                    </a:p>
                  </a:txBody>
                  <a:tcPr marL="45720" marR="45720" anchor="ctr"/>
                </a:tc>
                <a:extLst>
                  <a:ext uri="{0D108BD9-81ED-4DB2-BD59-A6C34878D82A}">
                    <a16:rowId xmlns:a16="http://schemas.microsoft.com/office/drawing/2014/main" val="3368993333"/>
                  </a:ext>
                </a:extLst>
              </a:tr>
            </a:tbl>
          </a:graphicData>
        </a:graphic>
      </p:graphicFrame>
      <p:graphicFrame>
        <p:nvGraphicFramePr>
          <p:cNvPr id="139" name="Table 138"/>
          <p:cNvGraphicFramePr>
            <a:graphicFrameLocks noGrp="1"/>
          </p:cNvGraphicFramePr>
          <p:nvPr>
            <p:extLst/>
          </p:nvPr>
        </p:nvGraphicFramePr>
        <p:xfrm>
          <a:off x="8853695" y="4687782"/>
          <a:ext cx="3124768" cy="1914450"/>
        </p:xfrm>
        <a:graphic>
          <a:graphicData uri="http://schemas.openxmlformats.org/drawingml/2006/table">
            <a:tbl>
              <a:tblPr firstRow="1" bandRow="1">
                <a:tableStyleId>{21E4AEA4-8DFA-4A89-87EB-49C32662AFE0}</a:tableStyleId>
              </a:tblPr>
              <a:tblGrid>
                <a:gridCol w="422266">
                  <a:extLst>
                    <a:ext uri="{9D8B030D-6E8A-4147-A177-3AD203B41FA5}">
                      <a16:colId xmlns:a16="http://schemas.microsoft.com/office/drawing/2014/main" val="3394179786"/>
                    </a:ext>
                  </a:extLst>
                </a:gridCol>
                <a:gridCol w="422266">
                  <a:extLst>
                    <a:ext uri="{9D8B030D-6E8A-4147-A177-3AD203B41FA5}">
                      <a16:colId xmlns:a16="http://schemas.microsoft.com/office/drawing/2014/main" val="2536271846"/>
                    </a:ext>
                  </a:extLst>
                </a:gridCol>
                <a:gridCol w="506719">
                  <a:extLst>
                    <a:ext uri="{9D8B030D-6E8A-4147-A177-3AD203B41FA5}">
                      <a16:colId xmlns:a16="http://schemas.microsoft.com/office/drawing/2014/main" val="3950525204"/>
                    </a:ext>
                  </a:extLst>
                </a:gridCol>
                <a:gridCol w="506719">
                  <a:extLst>
                    <a:ext uri="{9D8B030D-6E8A-4147-A177-3AD203B41FA5}">
                      <a16:colId xmlns:a16="http://schemas.microsoft.com/office/drawing/2014/main" val="278907567"/>
                    </a:ext>
                  </a:extLst>
                </a:gridCol>
                <a:gridCol w="591172">
                  <a:extLst>
                    <a:ext uri="{9D8B030D-6E8A-4147-A177-3AD203B41FA5}">
                      <a16:colId xmlns:a16="http://schemas.microsoft.com/office/drawing/2014/main" val="3260293135"/>
                    </a:ext>
                  </a:extLst>
                </a:gridCol>
                <a:gridCol w="337813">
                  <a:extLst>
                    <a:ext uri="{9D8B030D-6E8A-4147-A177-3AD203B41FA5}">
                      <a16:colId xmlns:a16="http://schemas.microsoft.com/office/drawing/2014/main" val="349384016"/>
                    </a:ext>
                  </a:extLst>
                </a:gridCol>
                <a:gridCol w="337813">
                  <a:extLst>
                    <a:ext uri="{9D8B030D-6E8A-4147-A177-3AD203B41FA5}">
                      <a16:colId xmlns:a16="http://schemas.microsoft.com/office/drawing/2014/main" val="3977400874"/>
                    </a:ext>
                  </a:extLst>
                </a:gridCol>
              </a:tblGrid>
              <a:tr h="751463">
                <a:tc gridSpan="7">
                  <a:txBody>
                    <a:bodyPr/>
                    <a:lstStyle/>
                    <a:p>
                      <a:pPr algn="ctr"/>
                      <a:r>
                        <a:rPr lang="en-US" sz="1200" dirty="0" smtClean="0"/>
                        <a:t>Technical</a:t>
                      </a:r>
                      <a:r>
                        <a:rPr lang="en-US" sz="1200" baseline="0" dirty="0" smtClean="0"/>
                        <a:t> </a:t>
                      </a:r>
                      <a:r>
                        <a:rPr lang="en-US" sz="1200" dirty="0" smtClean="0"/>
                        <a:t>Teams</a:t>
                      </a:r>
                    </a:p>
                    <a:p>
                      <a:pPr algn="ctr"/>
                      <a:r>
                        <a:rPr lang="en-US" sz="1050" kern="1200" baseline="0" dirty="0" smtClean="0"/>
                        <a:t>Solutions Architect, Testing Lead, Reporting Lead</a:t>
                      </a:r>
                      <a:endParaRPr lang="en-US" sz="1050" b="0" kern="1200" baseline="0" dirty="0" smtClean="0">
                        <a:solidFill>
                          <a:schemeClr val="lt1"/>
                        </a:solidFill>
                        <a:latin typeface="+mn-lt"/>
                        <a:ea typeface="+mn-ea"/>
                        <a:cs typeface="+mn-cs"/>
                      </a:endParaRPr>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extLst>
                  <a:ext uri="{0D108BD9-81ED-4DB2-BD59-A6C34878D82A}">
                    <a16:rowId xmlns:a16="http://schemas.microsoft.com/office/drawing/2014/main" val="4184158463"/>
                  </a:ext>
                </a:extLst>
              </a:tr>
              <a:tr h="570786">
                <a:tc>
                  <a:txBody>
                    <a:bodyPr/>
                    <a:lstStyle/>
                    <a:p>
                      <a:pPr algn="ctr"/>
                      <a:r>
                        <a:rPr lang="en-US" sz="700" dirty="0" smtClean="0">
                          <a:solidFill>
                            <a:schemeClr val="tx1">
                              <a:lumMod val="75000"/>
                            </a:schemeClr>
                          </a:solidFill>
                        </a:rPr>
                        <a:t>Integrations</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Conversion</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Res Activity Hub</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Security</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Workflow</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IDM</a:t>
                      </a:r>
                      <a:endParaRPr lang="en-US" sz="700" b="1" dirty="0">
                        <a:solidFill>
                          <a:schemeClr val="tx1">
                            <a:lumMod val="75000"/>
                          </a:schemeClr>
                        </a:solidFill>
                      </a:endParaRPr>
                    </a:p>
                  </a:txBody>
                  <a:tcPr marL="45720" marR="45720" anchor="ctr"/>
                </a:tc>
                <a:tc>
                  <a:txBody>
                    <a:bodyPr/>
                    <a:lstStyle/>
                    <a:p>
                      <a:pPr algn="ctr"/>
                      <a:r>
                        <a:rPr lang="en-US" sz="700" dirty="0" err="1" smtClean="0">
                          <a:solidFill>
                            <a:schemeClr val="tx1">
                              <a:lumMod val="75000"/>
                            </a:schemeClr>
                          </a:solidFill>
                        </a:rPr>
                        <a:t>MdM</a:t>
                      </a:r>
                      <a:endParaRPr lang="en-US" sz="700" b="1"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296984">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solidFill>
                          <a:schemeClr val="tx1">
                            <a:lumMod val="75000"/>
                          </a:schemeClr>
                        </a:solidFill>
                      </a:endParaRPr>
                    </a:p>
                  </a:txBody>
                  <a:tcPr marL="45720" marR="45720" anchor="ctr"/>
                </a:tc>
                <a:tc>
                  <a:txBody>
                    <a:bodyPr/>
                    <a:lstStyle/>
                    <a:p>
                      <a:pPr algn="ctr"/>
                      <a:endParaRPr lang="en-US" sz="800" dirty="0">
                        <a:solidFill>
                          <a:schemeClr val="tx1">
                            <a:lumMod val="75000"/>
                          </a:schemeClr>
                        </a:solidFill>
                      </a:endParaRPr>
                    </a:p>
                  </a:txBody>
                  <a:tcPr marL="45720" marR="45720" anchor="ctr"/>
                </a:tc>
                <a:tc>
                  <a:txBody>
                    <a:bodyPr/>
                    <a:lstStyle/>
                    <a:p>
                      <a:pPr algn="ctr"/>
                      <a:endParaRPr lang="en-US" sz="800" dirty="0">
                        <a:solidFill>
                          <a:schemeClr val="tx1">
                            <a:lumMod val="75000"/>
                          </a:schemeClr>
                        </a:solidFill>
                      </a:endParaRPr>
                    </a:p>
                  </a:txBody>
                  <a:tcPr marL="45720" marR="45720" anchor="ctr"/>
                </a:tc>
                <a:extLst>
                  <a:ext uri="{0D108BD9-81ED-4DB2-BD59-A6C34878D82A}">
                    <a16:rowId xmlns:a16="http://schemas.microsoft.com/office/drawing/2014/main" val="2399912008"/>
                  </a:ext>
                </a:extLst>
              </a:tr>
              <a:tr h="295217">
                <a:tc gridSpan="7">
                  <a:txBody>
                    <a:bodyPr/>
                    <a:lstStyle/>
                    <a:p>
                      <a:pPr algn="ctr"/>
                      <a:r>
                        <a:rPr lang="en-US" sz="1050" dirty="0" err="1" smtClean="0">
                          <a:solidFill>
                            <a:schemeClr val="tx1">
                              <a:lumMod val="75000"/>
                            </a:schemeClr>
                          </a:solidFill>
                        </a:rPr>
                        <a:t>Kuali</a:t>
                      </a:r>
                      <a:r>
                        <a:rPr lang="en-US" sz="1050" dirty="0" smtClean="0">
                          <a:solidFill>
                            <a:schemeClr val="tx1">
                              <a:lumMod val="75000"/>
                            </a:schemeClr>
                          </a:solidFill>
                        </a:rPr>
                        <a:t> Support</a:t>
                      </a:r>
                      <a:endParaRPr lang="en-US" sz="105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extLst>
                  <a:ext uri="{0D108BD9-81ED-4DB2-BD59-A6C34878D82A}">
                    <a16:rowId xmlns:a16="http://schemas.microsoft.com/office/drawing/2014/main" val="3446402263"/>
                  </a:ext>
                </a:extLst>
              </a:tr>
            </a:tbl>
          </a:graphicData>
        </a:graphic>
      </p:graphicFrame>
      <p:sp>
        <p:nvSpPr>
          <p:cNvPr id="48" name="Rectangle 47"/>
          <p:cNvSpPr/>
          <p:nvPr/>
        </p:nvSpPr>
        <p:spPr>
          <a:xfrm>
            <a:off x="8973072" y="3701446"/>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a:t>
            </a:r>
            <a:r>
              <a:rPr lang="en-US" sz="800" kern="0" dirty="0">
                <a:solidFill>
                  <a:schemeClr val="tx1">
                    <a:lumMod val="75000"/>
                  </a:schemeClr>
                </a:solidFill>
                <a:latin typeface="+mj-lt"/>
              </a:rPr>
              <a:t>| </a:t>
            </a:r>
            <a:r>
              <a:rPr lang="en-US" sz="800" kern="0" dirty="0" smtClean="0">
                <a:solidFill>
                  <a:schemeClr val="tx1">
                    <a:lumMod val="75000"/>
                  </a:schemeClr>
                </a:solidFill>
                <a:latin typeface="+mj-lt"/>
              </a:rPr>
              <a:t>Functional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Kat Szulc</a:t>
            </a:r>
            <a:endParaRPr lang="en-US" sz="1100" kern="0" dirty="0">
              <a:solidFill>
                <a:schemeClr val="tx1">
                  <a:lumMod val="75000"/>
                </a:schemeClr>
              </a:solidFill>
              <a:latin typeface="+mj-lt"/>
            </a:endParaRPr>
          </a:p>
        </p:txBody>
      </p:sp>
      <p:sp>
        <p:nvSpPr>
          <p:cNvPr id="49" name="Rectangle 48"/>
          <p:cNvSpPr/>
          <p:nvPr/>
        </p:nvSpPr>
        <p:spPr>
          <a:xfrm>
            <a:off x="10261611"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 Technical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Terry Durkin</a:t>
            </a:r>
            <a:endParaRPr lang="en-US" sz="1100" kern="0" dirty="0">
              <a:solidFill>
                <a:schemeClr val="tx1">
                  <a:lumMod val="75000"/>
                </a:schemeClr>
              </a:solidFill>
              <a:latin typeface="+mj-lt"/>
            </a:endParaRPr>
          </a:p>
        </p:txBody>
      </p:sp>
      <p:sp>
        <p:nvSpPr>
          <p:cNvPr id="43" name="Oval 42"/>
          <p:cNvSpPr/>
          <p:nvPr/>
        </p:nvSpPr>
        <p:spPr>
          <a:xfrm>
            <a:off x="6759734" y="4616307"/>
            <a:ext cx="2249906" cy="2057400"/>
          </a:xfrm>
          <a:prstGeom prst="ellipse">
            <a:avLst/>
          </a:prstGeom>
          <a:noFill/>
          <a:ln w="38100">
            <a:solidFill>
              <a:srgbClr val="DAA3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itle 1"/>
          <p:cNvSpPr txBox="1">
            <a:spLocks/>
          </p:cNvSpPr>
          <p:nvPr/>
        </p:nvSpPr>
        <p:spPr>
          <a:xfrm>
            <a:off x="347897" y="370973"/>
            <a:ext cx="7255586" cy="543426"/>
          </a:xfrm>
          <a:prstGeom prst="rect">
            <a:avLst/>
          </a:prstGeom>
        </p:spPr>
        <p:txBody>
          <a:bodyPr>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US" dirty="0" smtClean="0"/>
              <a:t>KR Project Structure</a:t>
            </a:r>
            <a:endParaRPr lang="en-US" dirty="0"/>
          </a:p>
        </p:txBody>
      </p:sp>
      <p:sp>
        <p:nvSpPr>
          <p:cNvPr id="45" name="Rectangle 44">
            <a:extLst>
              <a:ext uri="{FF2B5EF4-FFF2-40B4-BE49-F238E27FC236}">
                <a16:creationId xmlns:a16="http://schemas.microsoft.com/office/drawing/2014/main" id="{1ED684D1-5BF4-4CF4-BA76-FE28760B2B4E}"/>
              </a:ext>
            </a:extLst>
          </p:cNvPr>
          <p:cNvSpPr/>
          <p:nvPr/>
        </p:nvSpPr>
        <p:spPr>
          <a:xfrm>
            <a:off x="9228348" y="2558083"/>
            <a:ext cx="784234"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Ross Dammann</a:t>
            </a:r>
            <a:endParaRPr lang="en-US" sz="1100" kern="0" dirty="0">
              <a:solidFill>
                <a:schemeClr val="tx1">
                  <a:lumMod val="75000"/>
                </a:schemeClr>
              </a:solidFill>
              <a:latin typeface="+mj-lt"/>
            </a:endParaRPr>
          </a:p>
        </p:txBody>
      </p:sp>
      <p:sp>
        <p:nvSpPr>
          <p:cNvPr id="46" name="Rectangle 45">
            <a:extLst>
              <a:ext uri="{FF2B5EF4-FFF2-40B4-BE49-F238E27FC236}">
                <a16:creationId xmlns:a16="http://schemas.microsoft.com/office/drawing/2014/main" id="{1ED684D1-5BF4-4CF4-BA76-FE28760B2B4E}"/>
              </a:ext>
            </a:extLst>
          </p:cNvPr>
          <p:cNvSpPr/>
          <p:nvPr/>
        </p:nvSpPr>
        <p:spPr>
          <a:xfrm>
            <a:off x="10110668" y="2558083"/>
            <a:ext cx="784234"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Bill </a:t>
            </a:r>
          </a:p>
          <a:p>
            <a:pPr algn="ctr" defTabSz="1219170">
              <a:defRPr/>
            </a:pPr>
            <a:r>
              <a:rPr lang="en-US" sz="1100" kern="0" dirty="0" smtClean="0">
                <a:solidFill>
                  <a:schemeClr val="tx1">
                    <a:lumMod val="75000"/>
                  </a:schemeClr>
                </a:solidFill>
                <a:latin typeface="+mj-lt"/>
              </a:rPr>
              <a:t>Decker</a:t>
            </a:r>
            <a:endParaRPr lang="en-US" sz="1100" kern="0" dirty="0">
              <a:solidFill>
                <a:schemeClr val="tx1">
                  <a:lumMod val="75000"/>
                </a:schemeClr>
              </a:solidFill>
              <a:latin typeface="+mj-lt"/>
            </a:endParaRPr>
          </a:p>
        </p:txBody>
      </p:sp>
    </p:spTree>
    <p:extLst>
      <p:ext uri="{BB962C8B-B14F-4D97-AF65-F5344CB8AC3E}">
        <p14:creationId xmlns:p14="http://schemas.microsoft.com/office/powerpoint/2010/main" val="2198800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897" y="370973"/>
            <a:ext cx="7255586" cy="543426"/>
          </a:xfrm>
        </p:spPr>
        <p:txBody>
          <a:bodyPr>
            <a:noAutofit/>
          </a:bodyPr>
          <a:lstStyle/>
          <a:p>
            <a:r>
              <a:rPr lang="en-US" sz="4000" dirty="0" smtClean="0"/>
              <a:t>Change Structure</a:t>
            </a:r>
            <a:endParaRPr lang="en-US" sz="4000" dirty="0"/>
          </a:p>
        </p:txBody>
      </p:sp>
      <p:sp>
        <p:nvSpPr>
          <p:cNvPr id="2049" name="Rectangle 2048"/>
          <p:cNvSpPr/>
          <p:nvPr/>
        </p:nvSpPr>
        <p:spPr>
          <a:xfrm>
            <a:off x="0" y="1195136"/>
            <a:ext cx="12192000" cy="970835"/>
          </a:xfrm>
          <a:prstGeom prst="rect">
            <a:avLst/>
          </a:prstGeom>
          <a:solidFill>
            <a:srgbClr val="D9D9D9">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chemeClr val="tx2">
                    <a:lumMod val="75000"/>
                  </a:schemeClr>
                </a:solidFill>
              </a:rPr>
              <a:t>   </a:t>
            </a:r>
            <a:endParaRPr lang="en-US" sz="1600" dirty="0">
              <a:solidFill>
                <a:schemeClr val="tx2">
                  <a:lumMod val="75000"/>
                </a:schemeClr>
              </a:solidFill>
            </a:endParaRPr>
          </a:p>
        </p:txBody>
      </p:sp>
      <p:grpSp>
        <p:nvGrpSpPr>
          <p:cNvPr id="3" name="Group 2"/>
          <p:cNvGrpSpPr/>
          <p:nvPr/>
        </p:nvGrpSpPr>
        <p:grpSpPr>
          <a:xfrm>
            <a:off x="1607458" y="2647303"/>
            <a:ext cx="8702275" cy="3761824"/>
            <a:chOff x="1607458" y="2406673"/>
            <a:chExt cx="8702275" cy="3761824"/>
          </a:xfrm>
        </p:grpSpPr>
        <p:pic>
          <p:nvPicPr>
            <p:cNvPr id="33" name="Picture 32"/>
            <p:cNvPicPr>
              <a:picLocks noChangeAspect="1"/>
            </p:cNvPicPr>
            <p:nvPr/>
          </p:nvPicPr>
          <p:blipFill>
            <a:blip r:embed="rId3"/>
            <a:stretch>
              <a:fillRect/>
            </a:stretch>
          </p:blipFill>
          <p:spPr>
            <a:xfrm>
              <a:off x="1668469" y="3594198"/>
              <a:ext cx="8605168" cy="2574299"/>
            </a:xfrm>
            <a:prstGeom prst="rect">
              <a:avLst/>
            </a:prstGeom>
          </p:spPr>
        </p:pic>
        <p:sp>
          <p:nvSpPr>
            <p:cNvPr id="31" name="TextBox 30"/>
            <p:cNvSpPr txBox="1"/>
            <p:nvPr/>
          </p:nvSpPr>
          <p:spPr>
            <a:xfrm>
              <a:off x="1607458" y="3648612"/>
              <a:ext cx="1696153" cy="461665"/>
            </a:xfrm>
            <a:prstGeom prst="rect">
              <a:avLst/>
            </a:prstGeom>
            <a:noFill/>
          </p:spPr>
          <p:txBody>
            <a:bodyPr wrap="square" rtlCol="0">
              <a:spAutoFit/>
            </a:bodyPr>
            <a:lstStyle/>
            <a:p>
              <a:pPr algn="ctr"/>
              <a:r>
                <a:rPr lang="en-US" sz="1200" dirty="0" smtClean="0">
                  <a:solidFill>
                    <a:schemeClr val="bg1"/>
                  </a:solidFill>
                </a:rPr>
                <a:t>Primary Sponsor</a:t>
              </a:r>
            </a:p>
            <a:p>
              <a:pPr algn="ctr"/>
              <a:r>
                <a:rPr lang="en-US" sz="1200" dirty="0" smtClean="0">
                  <a:solidFill>
                    <a:schemeClr val="bg1"/>
                  </a:solidFill>
                </a:rPr>
                <a:t>and KR Governance</a:t>
              </a:r>
              <a:endParaRPr lang="en-US" sz="1200" dirty="0">
                <a:solidFill>
                  <a:schemeClr val="bg1"/>
                </a:solidFill>
              </a:endParaRPr>
            </a:p>
          </p:txBody>
        </p:sp>
        <p:sp>
          <p:nvSpPr>
            <p:cNvPr id="35" name="TextBox 34"/>
            <p:cNvSpPr txBox="1"/>
            <p:nvPr/>
          </p:nvSpPr>
          <p:spPr>
            <a:xfrm>
              <a:off x="4084719" y="3648612"/>
              <a:ext cx="1433764" cy="461665"/>
            </a:xfrm>
            <a:prstGeom prst="rect">
              <a:avLst/>
            </a:prstGeom>
            <a:noFill/>
          </p:spPr>
          <p:txBody>
            <a:bodyPr wrap="square" rtlCol="0">
              <a:spAutoFit/>
            </a:bodyPr>
            <a:lstStyle/>
            <a:p>
              <a:pPr algn="ctr"/>
              <a:r>
                <a:rPr lang="en-US" sz="1200" dirty="0" smtClean="0">
                  <a:solidFill>
                    <a:schemeClr val="bg1"/>
                  </a:solidFill>
                </a:rPr>
                <a:t> Sponsor Coalition Lead</a:t>
              </a:r>
              <a:endParaRPr lang="en-US" sz="1200" dirty="0">
                <a:solidFill>
                  <a:schemeClr val="bg1"/>
                </a:solidFill>
              </a:endParaRPr>
            </a:p>
          </p:txBody>
        </p:sp>
        <p:sp>
          <p:nvSpPr>
            <p:cNvPr id="36" name="TextBox 35"/>
            <p:cNvSpPr txBox="1"/>
            <p:nvPr/>
          </p:nvSpPr>
          <p:spPr>
            <a:xfrm>
              <a:off x="6340073" y="3648612"/>
              <a:ext cx="1594660" cy="461665"/>
            </a:xfrm>
            <a:prstGeom prst="rect">
              <a:avLst/>
            </a:prstGeom>
            <a:noFill/>
          </p:spPr>
          <p:txBody>
            <a:bodyPr wrap="square" rtlCol="0">
              <a:spAutoFit/>
            </a:bodyPr>
            <a:lstStyle/>
            <a:p>
              <a:pPr algn="ctr"/>
              <a:r>
                <a:rPr lang="en-US" sz="1200" dirty="0" smtClean="0">
                  <a:solidFill>
                    <a:schemeClr val="bg1"/>
                  </a:solidFill>
                </a:rPr>
                <a:t>Sponsorship </a:t>
              </a:r>
            </a:p>
            <a:p>
              <a:pPr algn="ctr"/>
              <a:r>
                <a:rPr lang="en-US" sz="1200" dirty="0" smtClean="0">
                  <a:solidFill>
                    <a:schemeClr val="bg1"/>
                  </a:solidFill>
                </a:rPr>
                <a:t>Coalition</a:t>
              </a:r>
              <a:endParaRPr lang="en-US" sz="1200" dirty="0">
                <a:solidFill>
                  <a:schemeClr val="bg1"/>
                </a:solidFill>
              </a:endParaRPr>
            </a:p>
          </p:txBody>
        </p:sp>
        <p:sp>
          <p:nvSpPr>
            <p:cNvPr id="37" name="TextBox 36"/>
            <p:cNvSpPr txBox="1"/>
            <p:nvPr/>
          </p:nvSpPr>
          <p:spPr>
            <a:xfrm>
              <a:off x="8760811" y="3648612"/>
              <a:ext cx="1433764" cy="461665"/>
            </a:xfrm>
            <a:prstGeom prst="rect">
              <a:avLst/>
            </a:prstGeom>
            <a:noFill/>
          </p:spPr>
          <p:txBody>
            <a:bodyPr wrap="square" rtlCol="0">
              <a:spAutoFit/>
            </a:bodyPr>
            <a:lstStyle/>
            <a:p>
              <a:pPr algn="ctr"/>
              <a:r>
                <a:rPr lang="en-US" sz="1200" dirty="0" smtClean="0">
                  <a:solidFill>
                    <a:schemeClr val="bg1"/>
                  </a:solidFill>
                </a:rPr>
                <a:t>Change</a:t>
              </a:r>
            </a:p>
            <a:p>
              <a:pPr algn="ctr"/>
              <a:r>
                <a:rPr lang="en-US" sz="1200" dirty="0" smtClean="0">
                  <a:solidFill>
                    <a:schemeClr val="bg1"/>
                  </a:solidFill>
                </a:rPr>
                <a:t>Champions</a:t>
              </a:r>
              <a:endParaRPr lang="en-US" sz="1200" dirty="0">
                <a:solidFill>
                  <a:schemeClr val="bg1"/>
                </a:solidFill>
              </a:endParaRPr>
            </a:p>
          </p:txBody>
        </p:sp>
        <p:sp>
          <p:nvSpPr>
            <p:cNvPr id="2048" name="TextBox 2047"/>
            <p:cNvSpPr txBox="1"/>
            <p:nvPr/>
          </p:nvSpPr>
          <p:spPr>
            <a:xfrm>
              <a:off x="3943490" y="4230239"/>
              <a:ext cx="1722953" cy="800219"/>
            </a:xfrm>
            <a:prstGeom prst="rect">
              <a:avLst/>
            </a:prstGeom>
            <a:noFill/>
          </p:spPr>
          <p:txBody>
            <a:bodyPr wrap="square" rtlCol="0">
              <a:spAutoFit/>
            </a:bodyPr>
            <a:lstStyle/>
            <a:p>
              <a:pPr algn="ctr"/>
              <a:r>
                <a:rPr lang="en-US" sz="1150" dirty="0" smtClean="0">
                  <a:solidFill>
                    <a:schemeClr val="bg2">
                      <a:lumMod val="50000"/>
                    </a:schemeClr>
                  </a:solidFill>
                </a:rPr>
                <a:t>Serves as org. sponsor, and primary contact for the Change Lead and Sponsorship Coalition</a:t>
              </a:r>
              <a:endParaRPr lang="en-US" sz="1150" dirty="0">
                <a:solidFill>
                  <a:schemeClr val="bg2">
                    <a:lumMod val="50000"/>
                  </a:schemeClr>
                </a:solidFill>
              </a:endParaRPr>
            </a:p>
          </p:txBody>
        </p:sp>
        <p:sp>
          <p:nvSpPr>
            <p:cNvPr id="39" name="TextBox 38"/>
            <p:cNvSpPr txBox="1"/>
            <p:nvPr/>
          </p:nvSpPr>
          <p:spPr>
            <a:xfrm>
              <a:off x="4111790" y="5252803"/>
              <a:ext cx="1371602" cy="646331"/>
            </a:xfrm>
            <a:prstGeom prst="rect">
              <a:avLst/>
            </a:prstGeom>
            <a:noFill/>
          </p:spPr>
          <p:txBody>
            <a:bodyPr wrap="square" rtlCol="0">
              <a:spAutoFit/>
            </a:bodyPr>
            <a:lstStyle/>
            <a:p>
              <a:pPr algn="ctr"/>
              <a:r>
                <a:rPr lang="en-US" sz="1200" dirty="0">
                  <a:solidFill>
                    <a:schemeClr val="bg2">
                      <a:lumMod val="50000"/>
                    </a:schemeClr>
                  </a:solidFill>
                </a:rPr>
                <a:t>S</a:t>
              </a:r>
              <a:r>
                <a:rPr lang="en-US" sz="1200" dirty="0" smtClean="0">
                  <a:solidFill>
                    <a:schemeClr val="bg2">
                      <a:lumMod val="50000"/>
                    </a:schemeClr>
                  </a:solidFill>
                </a:rPr>
                <a:t>upport communications from Change Leads</a:t>
              </a:r>
              <a:endParaRPr lang="en-US" sz="1200" dirty="0">
                <a:solidFill>
                  <a:schemeClr val="bg2">
                    <a:lumMod val="50000"/>
                  </a:schemeClr>
                </a:solidFill>
              </a:endParaRPr>
            </a:p>
          </p:txBody>
        </p:sp>
        <p:sp>
          <p:nvSpPr>
            <p:cNvPr id="40" name="TextBox 39"/>
            <p:cNvSpPr txBox="1"/>
            <p:nvPr/>
          </p:nvSpPr>
          <p:spPr>
            <a:xfrm>
              <a:off x="6264347" y="4142571"/>
              <a:ext cx="1714027" cy="1015663"/>
            </a:xfrm>
            <a:prstGeom prst="rect">
              <a:avLst/>
            </a:prstGeom>
            <a:noFill/>
          </p:spPr>
          <p:txBody>
            <a:bodyPr wrap="square" rtlCol="0">
              <a:spAutoFit/>
            </a:bodyPr>
            <a:lstStyle/>
            <a:p>
              <a:pPr algn="ctr"/>
              <a:r>
                <a:rPr lang="en-US" sz="1150" dirty="0" smtClean="0">
                  <a:solidFill>
                    <a:schemeClr val="bg2">
                      <a:lumMod val="50000"/>
                    </a:schemeClr>
                  </a:solidFill>
                </a:rPr>
                <a:t>Serves as the leader, executor, and communicator for their Division and/or Department.</a:t>
              </a:r>
              <a:endParaRPr lang="en-US" sz="1150" dirty="0">
                <a:solidFill>
                  <a:schemeClr val="bg2">
                    <a:lumMod val="50000"/>
                  </a:schemeClr>
                </a:solidFill>
              </a:endParaRPr>
            </a:p>
          </p:txBody>
        </p:sp>
        <p:sp>
          <p:nvSpPr>
            <p:cNvPr id="41" name="TextBox 40"/>
            <p:cNvSpPr txBox="1"/>
            <p:nvPr/>
          </p:nvSpPr>
          <p:spPr>
            <a:xfrm>
              <a:off x="8577186" y="4218538"/>
              <a:ext cx="1732547" cy="800219"/>
            </a:xfrm>
            <a:prstGeom prst="rect">
              <a:avLst/>
            </a:prstGeom>
            <a:noFill/>
          </p:spPr>
          <p:txBody>
            <a:bodyPr wrap="square" rtlCol="0">
              <a:spAutoFit/>
            </a:bodyPr>
            <a:lstStyle/>
            <a:p>
              <a:pPr algn="ctr"/>
              <a:r>
                <a:rPr lang="en-US" sz="1150" dirty="0" smtClean="0">
                  <a:solidFill>
                    <a:schemeClr val="bg2">
                      <a:lumMod val="50000"/>
                    </a:schemeClr>
                  </a:solidFill>
                </a:rPr>
                <a:t>Disseminates and advocates for positive change among impacted units and teams</a:t>
              </a:r>
              <a:endParaRPr lang="en-US" sz="1150" dirty="0">
                <a:solidFill>
                  <a:schemeClr val="bg2">
                    <a:lumMod val="50000"/>
                  </a:schemeClr>
                </a:solidFill>
              </a:endParaRPr>
            </a:p>
          </p:txBody>
        </p:sp>
        <p:sp>
          <p:nvSpPr>
            <p:cNvPr id="42" name="TextBox 41"/>
            <p:cNvSpPr txBox="1"/>
            <p:nvPr/>
          </p:nvSpPr>
          <p:spPr>
            <a:xfrm>
              <a:off x="8769306" y="5252803"/>
              <a:ext cx="1371602" cy="646331"/>
            </a:xfrm>
            <a:prstGeom prst="rect">
              <a:avLst/>
            </a:prstGeom>
            <a:noFill/>
          </p:spPr>
          <p:txBody>
            <a:bodyPr wrap="square" rtlCol="0">
              <a:spAutoFit/>
            </a:bodyPr>
            <a:lstStyle/>
            <a:p>
              <a:pPr algn="ctr"/>
              <a:r>
                <a:rPr lang="en-US" sz="1200" dirty="0" smtClean="0">
                  <a:solidFill>
                    <a:schemeClr val="bg2">
                      <a:lumMod val="50000"/>
                    </a:schemeClr>
                  </a:solidFill>
                </a:rPr>
                <a:t>Share communications and set priority</a:t>
              </a:r>
              <a:endParaRPr lang="en-US" sz="1200" dirty="0">
                <a:solidFill>
                  <a:schemeClr val="bg2">
                    <a:lumMod val="50000"/>
                  </a:schemeClr>
                </a:solidFill>
              </a:endParaRPr>
            </a:p>
          </p:txBody>
        </p:sp>
        <p:sp>
          <p:nvSpPr>
            <p:cNvPr id="43" name="TextBox 42"/>
            <p:cNvSpPr txBox="1"/>
            <p:nvPr/>
          </p:nvSpPr>
          <p:spPr>
            <a:xfrm>
              <a:off x="6351033" y="5281987"/>
              <a:ext cx="1542815" cy="646331"/>
            </a:xfrm>
            <a:prstGeom prst="rect">
              <a:avLst/>
            </a:prstGeom>
            <a:noFill/>
          </p:spPr>
          <p:txBody>
            <a:bodyPr wrap="square" rtlCol="0">
              <a:spAutoFit/>
            </a:bodyPr>
            <a:lstStyle/>
            <a:p>
              <a:pPr algn="ctr"/>
              <a:r>
                <a:rPr lang="en-US" sz="1200" dirty="0" smtClean="0">
                  <a:solidFill>
                    <a:schemeClr val="bg2">
                      <a:lumMod val="50000"/>
                    </a:schemeClr>
                  </a:solidFill>
                </a:rPr>
                <a:t>Track readiness and provide two-way communication</a:t>
              </a:r>
              <a:endParaRPr lang="en-US" sz="1200" dirty="0">
                <a:solidFill>
                  <a:schemeClr val="bg2">
                    <a:lumMod val="50000"/>
                  </a:schemeClr>
                </a:solidFill>
              </a:endParaRPr>
            </a:p>
          </p:txBody>
        </p:sp>
        <p:sp>
          <p:nvSpPr>
            <p:cNvPr id="44" name="TextBox 43"/>
            <p:cNvSpPr txBox="1"/>
            <p:nvPr/>
          </p:nvSpPr>
          <p:spPr>
            <a:xfrm>
              <a:off x="1680058" y="4246879"/>
              <a:ext cx="1601653" cy="800219"/>
            </a:xfrm>
            <a:prstGeom prst="rect">
              <a:avLst/>
            </a:prstGeom>
            <a:noFill/>
          </p:spPr>
          <p:txBody>
            <a:bodyPr wrap="square" rtlCol="0">
              <a:spAutoFit/>
            </a:bodyPr>
            <a:lstStyle/>
            <a:p>
              <a:pPr algn="ctr"/>
              <a:r>
                <a:rPr lang="en-US" sz="1150" dirty="0" smtClean="0">
                  <a:solidFill>
                    <a:schemeClr val="bg2">
                      <a:lumMod val="50000"/>
                    </a:schemeClr>
                  </a:solidFill>
                </a:rPr>
                <a:t>Launches change </a:t>
              </a:r>
            </a:p>
            <a:p>
              <a:pPr algn="ctr"/>
              <a:r>
                <a:rPr lang="en-US" sz="1150" dirty="0" smtClean="0">
                  <a:solidFill>
                    <a:schemeClr val="bg2">
                      <a:lumMod val="50000"/>
                    </a:schemeClr>
                  </a:solidFill>
                </a:rPr>
                <a:t>and actively sponsors among the research community</a:t>
              </a:r>
              <a:endParaRPr lang="en-US" sz="1150" dirty="0">
                <a:solidFill>
                  <a:schemeClr val="bg2">
                    <a:lumMod val="50000"/>
                  </a:schemeClr>
                </a:solidFill>
              </a:endParaRPr>
            </a:p>
          </p:txBody>
        </p:sp>
        <p:pic>
          <p:nvPicPr>
            <p:cNvPr id="2053" name="Picture 2052"/>
            <p:cNvPicPr>
              <a:picLocks noChangeAspect="1"/>
            </p:cNvPicPr>
            <p:nvPr/>
          </p:nvPicPr>
          <p:blipFill>
            <a:blip r:embed="rId4"/>
            <a:stretch>
              <a:fillRect/>
            </a:stretch>
          </p:blipFill>
          <p:spPr>
            <a:xfrm>
              <a:off x="2046226" y="2893131"/>
              <a:ext cx="904875" cy="647700"/>
            </a:xfrm>
            <a:prstGeom prst="rect">
              <a:avLst/>
            </a:prstGeom>
          </p:spPr>
        </p:pic>
        <p:pic>
          <p:nvPicPr>
            <p:cNvPr id="2054" name="Picture 2053"/>
            <p:cNvPicPr>
              <a:picLocks noChangeAspect="1"/>
            </p:cNvPicPr>
            <p:nvPr/>
          </p:nvPicPr>
          <p:blipFill>
            <a:blip r:embed="rId5"/>
            <a:stretch>
              <a:fillRect/>
            </a:stretch>
          </p:blipFill>
          <p:spPr>
            <a:xfrm>
              <a:off x="4359441" y="2891787"/>
              <a:ext cx="876300" cy="704850"/>
            </a:xfrm>
            <a:prstGeom prst="rect">
              <a:avLst/>
            </a:prstGeom>
          </p:spPr>
        </p:pic>
        <p:pic>
          <p:nvPicPr>
            <p:cNvPr id="2055" name="Picture 2054"/>
            <p:cNvPicPr>
              <a:picLocks noChangeAspect="1"/>
            </p:cNvPicPr>
            <p:nvPr/>
          </p:nvPicPr>
          <p:blipFill>
            <a:blip r:embed="rId6"/>
            <a:stretch>
              <a:fillRect/>
            </a:stretch>
          </p:blipFill>
          <p:spPr>
            <a:xfrm>
              <a:off x="6599479" y="2919408"/>
              <a:ext cx="1009650" cy="685800"/>
            </a:xfrm>
            <a:prstGeom prst="rect">
              <a:avLst/>
            </a:prstGeom>
          </p:spPr>
        </p:pic>
        <p:pic>
          <p:nvPicPr>
            <p:cNvPr id="50" name="Picture 49"/>
            <p:cNvPicPr>
              <a:picLocks noChangeAspect="1"/>
            </p:cNvPicPr>
            <p:nvPr/>
          </p:nvPicPr>
          <p:blipFill>
            <a:blip r:embed="rId6"/>
            <a:stretch>
              <a:fillRect/>
            </a:stretch>
          </p:blipFill>
          <p:spPr>
            <a:xfrm>
              <a:off x="8972867" y="2935605"/>
              <a:ext cx="1009650" cy="685800"/>
            </a:xfrm>
            <a:prstGeom prst="rect">
              <a:avLst/>
            </a:prstGeom>
          </p:spPr>
        </p:pic>
        <p:sp>
          <p:nvSpPr>
            <p:cNvPr id="51" name="Rectangle 50"/>
            <p:cNvSpPr/>
            <p:nvPr/>
          </p:nvSpPr>
          <p:spPr>
            <a:xfrm>
              <a:off x="4019548" y="2406673"/>
              <a:ext cx="6215132" cy="2651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495A4"/>
                  </a:solidFill>
                </a:rPr>
                <a:t>Change Network</a:t>
              </a:r>
              <a:endParaRPr lang="en-US" sz="1600" dirty="0">
                <a:solidFill>
                  <a:srgbClr val="0495A4"/>
                </a:solidFill>
              </a:endParaRPr>
            </a:p>
          </p:txBody>
        </p:sp>
        <p:sp>
          <p:nvSpPr>
            <p:cNvPr id="52" name="Rectangle 51"/>
            <p:cNvSpPr/>
            <p:nvPr/>
          </p:nvSpPr>
          <p:spPr>
            <a:xfrm>
              <a:off x="1616084" y="2407335"/>
              <a:ext cx="1687833" cy="2651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495A4"/>
                  </a:solidFill>
                </a:rPr>
                <a:t>Executive Team</a:t>
              </a:r>
              <a:endParaRPr lang="en-US" sz="1600" dirty="0">
                <a:solidFill>
                  <a:srgbClr val="0495A4"/>
                </a:solidFill>
              </a:endParaRPr>
            </a:p>
          </p:txBody>
        </p:sp>
        <p:sp>
          <p:nvSpPr>
            <p:cNvPr id="54" name="TextBox 53"/>
            <p:cNvSpPr txBox="1"/>
            <p:nvPr/>
          </p:nvSpPr>
          <p:spPr>
            <a:xfrm>
              <a:off x="1678606" y="5101484"/>
              <a:ext cx="1625005" cy="1015663"/>
            </a:xfrm>
            <a:prstGeom prst="rect">
              <a:avLst/>
            </a:prstGeom>
            <a:noFill/>
          </p:spPr>
          <p:txBody>
            <a:bodyPr wrap="square" rtlCol="0">
              <a:spAutoFit/>
            </a:bodyPr>
            <a:lstStyle/>
            <a:p>
              <a:pPr algn="ctr"/>
              <a:r>
                <a:rPr lang="en-US" sz="1200" dirty="0" smtClean="0">
                  <a:solidFill>
                    <a:schemeClr val="bg2">
                      <a:lumMod val="50000"/>
                    </a:schemeClr>
                  </a:solidFill>
                </a:rPr>
                <a:t>Active and visible participation; communicates key messages from the Core Team</a:t>
              </a:r>
              <a:endParaRPr lang="en-US" sz="1200" dirty="0">
                <a:solidFill>
                  <a:schemeClr val="bg2">
                    <a:lumMod val="50000"/>
                  </a:schemeClr>
                </a:solidFill>
              </a:endParaRPr>
            </a:p>
          </p:txBody>
        </p:sp>
      </p:grpSp>
      <p:sp>
        <p:nvSpPr>
          <p:cNvPr id="4" name="TextBox 3"/>
          <p:cNvSpPr txBox="1"/>
          <p:nvPr/>
        </p:nvSpPr>
        <p:spPr>
          <a:xfrm>
            <a:off x="241413" y="1229990"/>
            <a:ext cx="11709175" cy="1154162"/>
          </a:xfrm>
          <a:prstGeom prst="rect">
            <a:avLst/>
          </a:prstGeom>
          <a:noFill/>
        </p:spPr>
        <p:txBody>
          <a:bodyPr wrap="square" rtlCol="0">
            <a:spAutoFit/>
          </a:bodyPr>
          <a:lstStyle/>
          <a:p>
            <a:pPr algn="ctr"/>
            <a:r>
              <a:rPr lang="en-US" sz="1650" dirty="0">
                <a:solidFill>
                  <a:schemeClr val="tx2">
                    <a:lumMod val="75000"/>
                  </a:schemeClr>
                </a:solidFill>
              </a:rPr>
              <a:t>Our goal is to organize leaders, at all levels of the University, to coordinate </a:t>
            </a:r>
            <a:r>
              <a:rPr lang="en-US" sz="1650" dirty="0" smtClean="0">
                <a:solidFill>
                  <a:schemeClr val="tx2">
                    <a:lumMod val="75000"/>
                  </a:schemeClr>
                </a:solidFill>
              </a:rPr>
              <a:t>communication, </a:t>
            </a:r>
            <a:r>
              <a:rPr lang="en-US" sz="1650" dirty="0">
                <a:solidFill>
                  <a:schemeClr val="tx2">
                    <a:lumMod val="75000"/>
                  </a:schemeClr>
                </a:solidFill>
              </a:rPr>
              <a:t>so end users </a:t>
            </a:r>
            <a:r>
              <a:rPr lang="en-US" sz="1650" b="1" dirty="0" smtClean="0">
                <a:solidFill>
                  <a:srgbClr val="DAA377"/>
                </a:solidFill>
              </a:rPr>
              <a:t>hear </a:t>
            </a:r>
            <a:r>
              <a:rPr lang="en-US" sz="1650" b="1" dirty="0">
                <a:solidFill>
                  <a:srgbClr val="DAA377"/>
                </a:solidFill>
              </a:rPr>
              <a:t>the right messages from </a:t>
            </a:r>
            <a:r>
              <a:rPr lang="en-US" sz="1650" b="1" dirty="0" smtClean="0">
                <a:solidFill>
                  <a:srgbClr val="DAA377"/>
                </a:solidFill>
              </a:rPr>
              <a:t>the </a:t>
            </a:r>
            <a:r>
              <a:rPr lang="en-US" sz="1650" b="1" dirty="0">
                <a:solidFill>
                  <a:srgbClr val="DAA377"/>
                </a:solidFill>
              </a:rPr>
              <a:t>right people</a:t>
            </a:r>
            <a:r>
              <a:rPr lang="en-US" sz="1650" dirty="0">
                <a:solidFill>
                  <a:schemeClr val="tx2">
                    <a:lumMod val="75000"/>
                  </a:schemeClr>
                </a:solidFill>
              </a:rPr>
              <a:t>. </a:t>
            </a:r>
            <a:r>
              <a:rPr lang="en-US" sz="1650" dirty="0" smtClean="0">
                <a:solidFill>
                  <a:schemeClr val="tx2">
                    <a:lumMod val="75000"/>
                  </a:schemeClr>
                </a:solidFill>
              </a:rPr>
              <a:t>Change </a:t>
            </a:r>
            <a:r>
              <a:rPr lang="en-US" sz="1650" dirty="0">
                <a:solidFill>
                  <a:schemeClr val="tx2">
                    <a:lumMod val="75000"/>
                  </a:schemeClr>
                </a:solidFill>
              </a:rPr>
              <a:t>Network </a:t>
            </a:r>
            <a:r>
              <a:rPr lang="en-US" sz="1650" dirty="0" smtClean="0">
                <a:solidFill>
                  <a:schemeClr val="tx2">
                    <a:lumMod val="75000"/>
                  </a:schemeClr>
                </a:solidFill>
              </a:rPr>
              <a:t>members are local sponsors </a:t>
            </a:r>
            <a:r>
              <a:rPr lang="en-US" sz="1650" dirty="0">
                <a:solidFill>
                  <a:schemeClr val="tx2">
                    <a:lumMod val="75000"/>
                  </a:schemeClr>
                </a:solidFill>
              </a:rPr>
              <a:t>and </a:t>
            </a:r>
            <a:r>
              <a:rPr lang="en-US" sz="1650" dirty="0" smtClean="0">
                <a:solidFill>
                  <a:schemeClr val="tx2">
                    <a:lumMod val="75000"/>
                  </a:schemeClr>
                </a:solidFill>
              </a:rPr>
              <a:t>serve as an </a:t>
            </a:r>
            <a:r>
              <a:rPr lang="en-US" sz="1650" dirty="0">
                <a:solidFill>
                  <a:schemeClr val="tx2">
                    <a:lumMod val="75000"/>
                  </a:schemeClr>
                </a:solidFill>
              </a:rPr>
              <a:t>extension of </a:t>
            </a:r>
            <a:r>
              <a:rPr lang="en-US" sz="1650" dirty="0" smtClean="0">
                <a:solidFill>
                  <a:schemeClr val="tx2">
                    <a:lumMod val="75000"/>
                  </a:schemeClr>
                </a:solidFill>
              </a:rPr>
              <a:t>the project Change </a:t>
            </a:r>
            <a:r>
              <a:rPr lang="en-US" sz="1650" dirty="0">
                <a:solidFill>
                  <a:schemeClr val="tx2">
                    <a:lumMod val="75000"/>
                  </a:schemeClr>
                </a:solidFill>
              </a:rPr>
              <a:t>Leads. </a:t>
            </a:r>
            <a:r>
              <a:rPr lang="en-US" sz="1650" dirty="0" smtClean="0">
                <a:solidFill>
                  <a:schemeClr val="tx2">
                    <a:lumMod val="75000"/>
                  </a:schemeClr>
                </a:solidFill>
              </a:rPr>
              <a:t/>
            </a:r>
            <a:br>
              <a:rPr lang="en-US" sz="1650" dirty="0" smtClean="0">
                <a:solidFill>
                  <a:schemeClr val="tx2">
                    <a:lumMod val="75000"/>
                  </a:schemeClr>
                </a:solidFill>
              </a:rPr>
            </a:br>
            <a:r>
              <a:rPr lang="en-US" sz="1650" dirty="0" smtClean="0">
                <a:hlinkClick r:id="rId7"/>
              </a:rPr>
              <a:t>Learn </a:t>
            </a:r>
            <a:r>
              <a:rPr lang="en-US" sz="1650" dirty="0">
                <a:hlinkClick r:id="rId7"/>
              </a:rPr>
              <a:t>more </a:t>
            </a:r>
            <a:r>
              <a:rPr lang="en-US" sz="1650" dirty="0" smtClean="0">
                <a:hlinkClick r:id="rId7"/>
              </a:rPr>
              <a:t>about Change </a:t>
            </a:r>
            <a:r>
              <a:rPr lang="en-US" sz="1650" dirty="0">
                <a:hlinkClick r:id="rId7"/>
              </a:rPr>
              <a:t>Network roles and </a:t>
            </a:r>
            <a:r>
              <a:rPr lang="en-US" sz="1650" dirty="0" smtClean="0">
                <a:hlinkClick r:id="rId7"/>
              </a:rPr>
              <a:t>responsibilities.</a:t>
            </a:r>
            <a:endParaRPr lang="en-US" sz="1650" dirty="0"/>
          </a:p>
          <a:p>
            <a:endParaRPr lang="en-US" dirty="0"/>
          </a:p>
        </p:txBody>
      </p:sp>
    </p:spTree>
    <p:extLst>
      <p:ext uri="{BB962C8B-B14F-4D97-AF65-F5344CB8AC3E}">
        <p14:creationId xmlns:p14="http://schemas.microsoft.com/office/powerpoint/2010/main" val="24631815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400614339"/>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smtClean="0"/>
              <a:t>Business process review (SME </a:t>
            </a:r>
            <a:r>
              <a:rPr lang="en-US" dirty="0"/>
              <a:t>involvement begin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14</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Design</a:t>
            </a:r>
            <a:endParaRPr lang="en-US" dirty="0"/>
          </a:p>
        </p:txBody>
      </p:sp>
      <p:sp>
        <p:nvSpPr>
          <p:cNvPr id="7" name="TextBox 6"/>
          <p:cNvSpPr txBox="1"/>
          <p:nvPr/>
        </p:nvSpPr>
        <p:spPr>
          <a:xfrm>
            <a:off x="2739237" y="5510905"/>
            <a:ext cx="1335900" cy="253916"/>
          </a:xfrm>
          <a:prstGeom prst="rect">
            <a:avLst/>
          </a:prstGeom>
          <a:noFill/>
        </p:spPr>
        <p:txBody>
          <a:bodyPr wrap="square" rtlCol="0">
            <a:spAutoFit/>
          </a:bodyPr>
          <a:lstStyle/>
          <a:p>
            <a:pPr algn="ctr"/>
            <a:r>
              <a:rPr lang="en-US" sz="1050" dirty="0" smtClean="0">
                <a:solidFill>
                  <a:schemeClr val="accent2"/>
                </a:solidFill>
              </a:rPr>
              <a:t>Apr 2018 – Apr 2019</a:t>
            </a:r>
            <a:endParaRPr lang="en-US" sz="1050" dirty="0">
              <a:solidFill>
                <a:schemeClr val="accent2"/>
              </a:solidFill>
            </a:endParaRPr>
          </a:p>
        </p:txBody>
      </p:sp>
    </p:spTree>
    <p:extLst>
      <p:ext uri="{BB962C8B-B14F-4D97-AF65-F5344CB8AC3E}">
        <p14:creationId xmlns:p14="http://schemas.microsoft.com/office/powerpoint/2010/main" val="28163930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1133003843"/>
              </p:ext>
            </p:extLst>
          </p:nvPr>
        </p:nvGraphicFramePr>
        <p:xfrm>
          <a:off x="369104" y="-397972"/>
          <a:ext cx="1149291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smtClean="0"/>
              <a:t>Project Timeline</a:t>
            </a:r>
            <a:endParaRPr lang="en-US" dirty="0"/>
          </a:p>
        </p:txBody>
      </p:sp>
      <p:sp>
        <p:nvSpPr>
          <p:cNvPr id="4" name="Text Placeholder 3"/>
          <p:cNvSpPr>
            <a:spLocks noGrp="1"/>
          </p:cNvSpPr>
          <p:nvPr>
            <p:ph type="body" sz="quarter" idx="13"/>
          </p:nvPr>
        </p:nvSpPr>
        <p:spPr/>
        <p:txBody>
          <a:bodyPr/>
          <a:lstStyle/>
          <a:p>
            <a:r>
              <a:rPr lang="en-US" dirty="0" smtClean="0"/>
              <a:t>Celebrating Success</a:t>
            </a:r>
            <a:endParaRPr lang="en-US" dirty="0"/>
          </a:p>
        </p:txBody>
      </p:sp>
      <p:sp>
        <p:nvSpPr>
          <p:cNvPr id="16" name="TextBox 15"/>
          <p:cNvSpPr txBox="1"/>
          <p:nvPr/>
        </p:nvSpPr>
        <p:spPr>
          <a:xfrm>
            <a:off x="369104" y="2563462"/>
            <a:ext cx="1176746" cy="253916"/>
          </a:xfrm>
          <a:prstGeom prst="rect">
            <a:avLst/>
          </a:prstGeom>
          <a:noFill/>
        </p:spPr>
        <p:txBody>
          <a:bodyPr wrap="square" rtlCol="0">
            <a:spAutoFit/>
          </a:bodyPr>
          <a:lstStyle/>
          <a:p>
            <a:pPr algn="ctr"/>
            <a:r>
              <a:rPr lang="en-US" sz="1050" dirty="0">
                <a:solidFill>
                  <a:schemeClr val="bg1">
                    <a:lumMod val="50000"/>
                  </a:schemeClr>
                </a:solidFill>
              </a:rPr>
              <a:t>Oct – Dec 2017</a:t>
            </a:r>
          </a:p>
        </p:txBody>
      </p:sp>
      <p:sp>
        <p:nvSpPr>
          <p:cNvPr id="17" name="TextBox 16"/>
          <p:cNvSpPr txBox="1"/>
          <p:nvPr/>
        </p:nvSpPr>
        <p:spPr>
          <a:xfrm>
            <a:off x="1625427" y="2563462"/>
            <a:ext cx="1176746" cy="253916"/>
          </a:xfrm>
          <a:prstGeom prst="rect">
            <a:avLst/>
          </a:prstGeom>
          <a:noFill/>
        </p:spPr>
        <p:txBody>
          <a:bodyPr wrap="square" rtlCol="0">
            <a:spAutoFit/>
          </a:bodyPr>
          <a:lstStyle/>
          <a:p>
            <a:pPr algn="ctr"/>
            <a:r>
              <a:rPr lang="en-US" sz="1050" dirty="0">
                <a:solidFill>
                  <a:schemeClr val="bg1">
                    <a:lumMod val="50000"/>
                  </a:schemeClr>
                </a:solidFill>
              </a:rPr>
              <a:t>Jan – Mar 2018</a:t>
            </a:r>
          </a:p>
        </p:txBody>
      </p:sp>
      <p:sp>
        <p:nvSpPr>
          <p:cNvPr id="18" name="TextBox 17"/>
          <p:cNvSpPr txBox="1"/>
          <p:nvPr/>
        </p:nvSpPr>
        <p:spPr>
          <a:xfrm>
            <a:off x="2780964" y="2567506"/>
            <a:ext cx="1335900" cy="253916"/>
          </a:xfrm>
          <a:prstGeom prst="rect">
            <a:avLst/>
          </a:prstGeom>
          <a:noFill/>
        </p:spPr>
        <p:txBody>
          <a:bodyPr wrap="square" rtlCol="0">
            <a:spAutoFit/>
          </a:bodyPr>
          <a:lstStyle/>
          <a:p>
            <a:pPr algn="ctr"/>
            <a:r>
              <a:rPr lang="en-US" sz="1050" dirty="0">
                <a:solidFill>
                  <a:schemeClr val="bg1">
                    <a:lumMod val="50000"/>
                  </a:schemeClr>
                </a:solidFill>
              </a:rPr>
              <a:t>Apr 2018 – Apr 2019</a:t>
            </a:r>
          </a:p>
        </p:txBody>
      </p:sp>
      <p:sp>
        <p:nvSpPr>
          <p:cNvPr id="19" name="TextBox 18"/>
          <p:cNvSpPr txBox="1"/>
          <p:nvPr/>
        </p:nvSpPr>
        <p:spPr>
          <a:xfrm>
            <a:off x="4037287" y="2567506"/>
            <a:ext cx="1335900" cy="253916"/>
          </a:xfrm>
          <a:prstGeom prst="rect">
            <a:avLst/>
          </a:prstGeom>
          <a:noFill/>
        </p:spPr>
        <p:txBody>
          <a:bodyPr wrap="square" rtlCol="0">
            <a:spAutoFit/>
          </a:bodyPr>
          <a:lstStyle/>
          <a:p>
            <a:pPr algn="ctr"/>
            <a:r>
              <a:rPr lang="en-US" sz="1050" dirty="0">
                <a:solidFill>
                  <a:schemeClr val="accent2"/>
                </a:solidFill>
              </a:rPr>
              <a:t>Aug 2018 – Apr 2019</a:t>
            </a:r>
          </a:p>
        </p:txBody>
      </p:sp>
      <p:sp>
        <p:nvSpPr>
          <p:cNvPr id="20" name="TextBox 19"/>
          <p:cNvSpPr txBox="1"/>
          <p:nvPr/>
        </p:nvSpPr>
        <p:spPr>
          <a:xfrm>
            <a:off x="5394396" y="2567506"/>
            <a:ext cx="1176746" cy="253916"/>
          </a:xfrm>
          <a:prstGeom prst="rect">
            <a:avLst/>
          </a:prstGeom>
          <a:noFill/>
        </p:spPr>
        <p:txBody>
          <a:bodyPr wrap="square" rtlCol="0">
            <a:spAutoFit/>
          </a:bodyPr>
          <a:lstStyle/>
          <a:p>
            <a:pPr algn="ctr"/>
            <a:r>
              <a:rPr lang="en-US" sz="1050" dirty="0" smtClean="0">
                <a:solidFill>
                  <a:schemeClr val="accent2"/>
                </a:solidFill>
              </a:rPr>
              <a:t>May </a:t>
            </a:r>
            <a:r>
              <a:rPr lang="en-US" sz="1050" dirty="0">
                <a:solidFill>
                  <a:schemeClr val="accent2"/>
                </a:solidFill>
              </a:rPr>
              <a:t>– </a:t>
            </a:r>
            <a:r>
              <a:rPr lang="en-US" sz="1050" dirty="0" smtClean="0">
                <a:solidFill>
                  <a:schemeClr val="accent2"/>
                </a:solidFill>
              </a:rPr>
              <a:t>Nov </a:t>
            </a:r>
            <a:r>
              <a:rPr lang="en-US" sz="1050" dirty="0">
                <a:solidFill>
                  <a:schemeClr val="accent2"/>
                </a:solidFill>
              </a:rPr>
              <a:t>2019</a:t>
            </a:r>
          </a:p>
        </p:txBody>
      </p:sp>
      <p:sp>
        <p:nvSpPr>
          <p:cNvPr id="21" name="TextBox 20"/>
          <p:cNvSpPr txBox="1"/>
          <p:nvPr/>
        </p:nvSpPr>
        <p:spPr>
          <a:xfrm>
            <a:off x="6472860" y="2560390"/>
            <a:ext cx="1354605" cy="253916"/>
          </a:xfrm>
          <a:prstGeom prst="rect">
            <a:avLst/>
          </a:prstGeom>
          <a:noFill/>
        </p:spPr>
        <p:txBody>
          <a:bodyPr wrap="square" rtlCol="0">
            <a:spAutoFit/>
          </a:bodyPr>
          <a:lstStyle/>
          <a:p>
            <a:pPr algn="ctr"/>
            <a:r>
              <a:rPr lang="en-US" sz="1050" dirty="0" smtClean="0">
                <a:solidFill>
                  <a:schemeClr val="bg1">
                    <a:lumMod val="50000"/>
                  </a:schemeClr>
                </a:solidFill>
              </a:rPr>
              <a:t>Dec 2019 – Jan 2020</a:t>
            </a:r>
            <a:endParaRPr lang="en-US" sz="1050" dirty="0">
              <a:solidFill>
                <a:schemeClr val="bg1">
                  <a:lumMod val="50000"/>
                </a:schemeClr>
              </a:solidFill>
            </a:endParaRPr>
          </a:p>
        </p:txBody>
      </p:sp>
      <p:sp>
        <p:nvSpPr>
          <p:cNvPr id="22" name="TextBox 21"/>
          <p:cNvSpPr txBox="1"/>
          <p:nvPr/>
        </p:nvSpPr>
        <p:spPr>
          <a:xfrm>
            <a:off x="7827465" y="2567505"/>
            <a:ext cx="1256323" cy="253916"/>
          </a:xfrm>
          <a:prstGeom prst="rect">
            <a:avLst/>
          </a:prstGeom>
          <a:noFill/>
        </p:spPr>
        <p:txBody>
          <a:bodyPr wrap="square" rtlCol="0">
            <a:spAutoFit/>
          </a:bodyPr>
          <a:lstStyle/>
          <a:p>
            <a:pPr algn="ctr"/>
            <a:r>
              <a:rPr lang="en-US" sz="1050" b="1" dirty="0" smtClean="0">
                <a:solidFill>
                  <a:schemeClr val="accent2"/>
                </a:solidFill>
              </a:rPr>
              <a:t> Jan 21, </a:t>
            </a:r>
            <a:r>
              <a:rPr lang="en-US" sz="1050" b="1" dirty="0">
                <a:solidFill>
                  <a:schemeClr val="accent2"/>
                </a:solidFill>
              </a:rPr>
              <a:t>2020</a:t>
            </a:r>
          </a:p>
        </p:txBody>
      </p:sp>
      <p:sp>
        <p:nvSpPr>
          <p:cNvPr id="23" name="TextBox 22"/>
          <p:cNvSpPr txBox="1"/>
          <p:nvPr/>
        </p:nvSpPr>
        <p:spPr>
          <a:xfrm>
            <a:off x="9163365" y="2567506"/>
            <a:ext cx="1176746" cy="253916"/>
          </a:xfrm>
          <a:prstGeom prst="rect">
            <a:avLst/>
          </a:prstGeom>
          <a:noFill/>
        </p:spPr>
        <p:txBody>
          <a:bodyPr wrap="square" rtlCol="0">
            <a:spAutoFit/>
          </a:bodyPr>
          <a:lstStyle/>
          <a:p>
            <a:pPr algn="ctr"/>
            <a:r>
              <a:rPr lang="en-US" sz="1050" dirty="0">
                <a:solidFill>
                  <a:schemeClr val="bg1">
                    <a:lumMod val="50000"/>
                  </a:schemeClr>
                </a:solidFill>
              </a:rPr>
              <a:t>Jan – Mar 2020</a:t>
            </a:r>
          </a:p>
        </p:txBody>
      </p:sp>
      <p:sp>
        <p:nvSpPr>
          <p:cNvPr id="24" name="TextBox 23"/>
          <p:cNvSpPr txBox="1"/>
          <p:nvPr/>
        </p:nvSpPr>
        <p:spPr>
          <a:xfrm>
            <a:off x="10419688" y="2560390"/>
            <a:ext cx="1176746" cy="253916"/>
          </a:xfrm>
          <a:prstGeom prst="rect">
            <a:avLst/>
          </a:prstGeom>
          <a:noFill/>
        </p:spPr>
        <p:txBody>
          <a:bodyPr wrap="square" rtlCol="0">
            <a:spAutoFit/>
          </a:bodyPr>
          <a:lstStyle/>
          <a:p>
            <a:pPr algn="ctr"/>
            <a:r>
              <a:rPr lang="en-US" sz="1050" dirty="0">
                <a:solidFill>
                  <a:schemeClr val="bg1">
                    <a:lumMod val="50000"/>
                  </a:schemeClr>
                </a:solidFill>
              </a:rPr>
              <a:t>Apr – Jun 2020</a:t>
            </a:r>
          </a:p>
        </p:txBody>
      </p:sp>
      <p:sp>
        <p:nvSpPr>
          <p:cNvPr id="25" name="Left Brace 24"/>
          <p:cNvSpPr/>
          <p:nvPr/>
        </p:nvSpPr>
        <p:spPr>
          <a:xfrm rot="16200000">
            <a:off x="7141529" y="-1306591"/>
            <a:ext cx="319777" cy="8590033"/>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grpSp>
        <p:nvGrpSpPr>
          <p:cNvPr id="8" name="Group 7"/>
          <p:cNvGrpSpPr/>
          <p:nvPr/>
        </p:nvGrpSpPr>
        <p:grpSpPr>
          <a:xfrm>
            <a:off x="542365" y="4573537"/>
            <a:ext cx="6109504" cy="696922"/>
            <a:chOff x="542365" y="4595482"/>
            <a:chExt cx="6109504" cy="696922"/>
          </a:xfrm>
        </p:grpSpPr>
        <p:sp>
          <p:nvSpPr>
            <p:cNvPr id="28" name="Right Arrow 27"/>
            <p:cNvSpPr/>
            <p:nvPr/>
          </p:nvSpPr>
          <p:spPr>
            <a:xfrm>
              <a:off x="3618617" y="4595482"/>
              <a:ext cx="3033252" cy="69692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esting</a:t>
              </a:r>
              <a:endParaRPr lang="en-US" dirty="0"/>
            </a:p>
          </p:txBody>
        </p:sp>
        <p:sp>
          <p:nvSpPr>
            <p:cNvPr id="32" name="TextBox 31"/>
            <p:cNvSpPr txBox="1"/>
            <p:nvPr/>
          </p:nvSpPr>
          <p:spPr>
            <a:xfrm>
              <a:off x="542365" y="4624064"/>
              <a:ext cx="3068936" cy="646331"/>
            </a:xfrm>
            <a:prstGeom prst="rect">
              <a:avLst/>
            </a:prstGeom>
            <a:noFill/>
            <a:ln>
              <a:solidFill>
                <a:schemeClr val="accent2"/>
              </a:solidFill>
            </a:ln>
          </p:spPr>
          <p:txBody>
            <a:bodyPr wrap="square" rtlCol="0">
              <a:spAutoFit/>
            </a:bodyPr>
            <a:lstStyle/>
            <a:p>
              <a:pPr marL="285750" indent="-285750">
                <a:buFont typeface="Arial" panose="020B0604020202020204" pitchFamily="34" charset="0"/>
                <a:buChar char="•"/>
              </a:pPr>
              <a:r>
                <a:rPr lang="en-US" sz="1200" dirty="0">
                  <a:solidFill>
                    <a:schemeClr val="accent2"/>
                  </a:solidFill>
                </a:rPr>
                <a:t>6</a:t>
              </a:r>
              <a:r>
                <a:rPr lang="en-US" sz="1200" dirty="0" smtClean="0">
                  <a:solidFill>
                    <a:schemeClr val="accent2"/>
                  </a:solidFill>
                </a:rPr>
                <a:t> levels of testing and 2 phases per level</a:t>
              </a:r>
            </a:p>
            <a:p>
              <a:pPr marL="285750" indent="-285750">
                <a:buFont typeface="Arial" panose="020B0604020202020204" pitchFamily="34" charset="0"/>
                <a:buChar char="•"/>
              </a:pPr>
              <a:r>
                <a:rPr lang="en-US" sz="1200" dirty="0" smtClean="0">
                  <a:solidFill>
                    <a:schemeClr val="accent2"/>
                  </a:solidFill>
                </a:rPr>
                <a:t>Engaging SMEs for various testing</a:t>
              </a:r>
            </a:p>
            <a:p>
              <a:pPr marL="285750" indent="-285750">
                <a:buFont typeface="Arial" panose="020B0604020202020204" pitchFamily="34" charset="0"/>
                <a:buChar char="•"/>
              </a:pPr>
              <a:r>
                <a:rPr lang="en-US" sz="1200" dirty="0" smtClean="0">
                  <a:solidFill>
                    <a:schemeClr val="accent2"/>
                  </a:solidFill>
                </a:rPr>
                <a:t>User Acceptance Testing (Nov 2019)</a:t>
              </a:r>
            </a:p>
          </p:txBody>
        </p:sp>
      </p:grpSp>
      <p:grpSp>
        <p:nvGrpSpPr>
          <p:cNvPr id="39" name="Group 38"/>
          <p:cNvGrpSpPr/>
          <p:nvPr/>
        </p:nvGrpSpPr>
        <p:grpSpPr>
          <a:xfrm>
            <a:off x="542365" y="5308187"/>
            <a:ext cx="11319655" cy="830997"/>
            <a:chOff x="1338684" y="5279888"/>
            <a:chExt cx="10523338" cy="830997"/>
          </a:xfrm>
        </p:grpSpPr>
        <p:sp>
          <p:nvSpPr>
            <p:cNvPr id="29" name="Right Arrow 28"/>
            <p:cNvSpPr/>
            <p:nvPr/>
          </p:nvSpPr>
          <p:spPr>
            <a:xfrm>
              <a:off x="3802720" y="5280212"/>
              <a:ext cx="8059302" cy="69692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hange Management: Communications and Training</a:t>
              </a:r>
              <a:endParaRPr lang="en-US" dirty="0"/>
            </a:p>
          </p:txBody>
        </p:sp>
        <p:sp>
          <p:nvSpPr>
            <p:cNvPr id="33" name="TextBox 32"/>
            <p:cNvSpPr txBox="1"/>
            <p:nvPr/>
          </p:nvSpPr>
          <p:spPr>
            <a:xfrm>
              <a:off x="1338684" y="5279888"/>
              <a:ext cx="2464036" cy="830997"/>
            </a:xfrm>
            <a:prstGeom prst="rect">
              <a:avLst/>
            </a:prstGeom>
            <a:noFill/>
            <a:ln>
              <a:solidFill>
                <a:schemeClr val="accent2"/>
              </a:solidFill>
            </a:ln>
          </p:spPr>
          <p:txBody>
            <a:bodyPr wrap="square" rtlCol="0">
              <a:spAutoFit/>
            </a:bodyPr>
            <a:lstStyle/>
            <a:p>
              <a:pPr marL="285750" indent="-285750">
                <a:buFont typeface="Arial" panose="020B0604020202020204" pitchFamily="34" charset="0"/>
                <a:buChar char="•"/>
              </a:pPr>
              <a:r>
                <a:rPr lang="en-US" sz="1200" dirty="0" smtClean="0">
                  <a:solidFill>
                    <a:schemeClr val="accent2"/>
                  </a:solidFill>
                </a:rPr>
                <a:t>Technology</a:t>
              </a:r>
            </a:p>
            <a:p>
              <a:pPr marL="285750" indent="-285750">
                <a:buFont typeface="Arial" panose="020B0604020202020204" pitchFamily="34" charset="0"/>
                <a:buChar char="•"/>
              </a:pPr>
              <a:r>
                <a:rPr lang="en-US" sz="1200" dirty="0" smtClean="0">
                  <a:solidFill>
                    <a:schemeClr val="accent2"/>
                  </a:solidFill>
                </a:rPr>
                <a:t>Workflow/Process</a:t>
              </a:r>
            </a:p>
            <a:p>
              <a:pPr marL="285750" indent="-285750">
                <a:buFont typeface="Arial" panose="020B0604020202020204" pitchFamily="34" charset="0"/>
                <a:buChar char="•"/>
              </a:pPr>
              <a:r>
                <a:rPr lang="en-US" sz="1200" dirty="0" smtClean="0">
                  <a:solidFill>
                    <a:schemeClr val="accent2"/>
                  </a:solidFill>
                </a:rPr>
                <a:t>Mindset</a:t>
              </a:r>
            </a:p>
            <a:p>
              <a:pPr marL="285750" indent="-285750">
                <a:buFont typeface="Arial" panose="020B0604020202020204" pitchFamily="34" charset="0"/>
                <a:buChar char="•"/>
              </a:pPr>
              <a:r>
                <a:rPr lang="en-US" sz="1200" dirty="0" smtClean="0">
                  <a:solidFill>
                    <a:schemeClr val="accent2"/>
                  </a:solidFill>
                </a:rPr>
                <a:t>Leverage SME Trainers</a:t>
              </a:r>
            </a:p>
          </p:txBody>
        </p:sp>
      </p:grpSp>
      <p:grpSp>
        <p:nvGrpSpPr>
          <p:cNvPr id="40" name="Group 39"/>
          <p:cNvGrpSpPr/>
          <p:nvPr/>
        </p:nvGrpSpPr>
        <p:grpSpPr>
          <a:xfrm>
            <a:off x="542365" y="6157342"/>
            <a:ext cx="11319655" cy="696922"/>
            <a:chOff x="1338683" y="6098822"/>
            <a:chExt cx="10599142" cy="696922"/>
          </a:xfrm>
        </p:grpSpPr>
        <p:sp>
          <p:nvSpPr>
            <p:cNvPr id="30" name="Right Arrow 29"/>
            <p:cNvSpPr/>
            <p:nvPr/>
          </p:nvSpPr>
          <p:spPr>
            <a:xfrm>
              <a:off x="6229751" y="6098822"/>
              <a:ext cx="5708074" cy="69692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ransition</a:t>
              </a:r>
              <a:endParaRPr lang="en-US" dirty="0"/>
            </a:p>
          </p:txBody>
        </p:sp>
        <p:sp>
          <p:nvSpPr>
            <p:cNvPr id="34" name="TextBox 33"/>
            <p:cNvSpPr txBox="1"/>
            <p:nvPr/>
          </p:nvSpPr>
          <p:spPr>
            <a:xfrm>
              <a:off x="1338683" y="6127702"/>
              <a:ext cx="4891068" cy="646331"/>
            </a:xfrm>
            <a:prstGeom prst="rect">
              <a:avLst/>
            </a:prstGeom>
            <a:noFill/>
            <a:ln>
              <a:solidFill>
                <a:schemeClr val="accent2"/>
              </a:solidFill>
            </a:ln>
          </p:spPr>
          <p:txBody>
            <a:bodyPr wrap="square" rtlCol="0">
              <a:spAutoFit/>
            </a:bodyPr>
            <a:lstStyle/>
            <a:p>
              <a:pPr marL="285750" indent="-285750">
                <a:buFont typeface="Arial" panose="020B0604020202020204" pitchFamily="34" charset="0"/>
                <a:buChar char="•"/>
              </a:pPr>
              <a:r>
                <a:rPr lang="en-US" sz="1200" dirty="0" smtClean="0">
                  <a:solidFill>
                    <a:schemeClr val="accent2"/>
                  </a:solidFill>
                </a:rPr>
                <a:t>Deployment Plan</a:t>
              </a:r>
            </a:p>
            <a:p>
              <a:pPr marL="285750" indent="-285750">
                <a:buFont typeface="Arial" panose="020B0604020202020204" pitchFamily="34" charset="0"/>
                <a:buChar char="•"/>
              </a:pPr>
              <a:r>
                <a:rPr lang="en-US" sz="1200" dirty="0" smtClean="0">
                  <a:solidFill>
                    <a:schemeClr val="accent2"/>
                  </a:solidFill>
                </a:rPr>
                <a:t>Hyper Care</a:t>
              </a:r>
            </a:p>
            <a:p>
              <a:pPr marL="285750" indent="-285750">
                <a:buFont typeface="Arial" panose="020B0604020202020204" pitchFamily="34" charset="0"/>
                <a:buChar char="•"/>
              </a:pPr>
              <a:r>
                <a:rPr lang="en-US" sz="1200" dirty="0" smtClean="0">
                  <a:solidFill>
                    <a:schemeClr val="accent2"/>
                  </a:solidFill>
                </a:rPr>
                <a:t>User Support Plan</a:t>
              </a:r>
            </a:p>
          </p:txBody>
        </p:sp>
      </p:grpSp>
      <p:sp>
        <p:nvSpPr>
          <p:cNvPr id="35" name="Oval 34"/>
          <p:cNvSpPr/>
          <p:nvPr/>
        </p:nvSpPr>
        <p:spPr>
          <a:xfrm>
            <a:off x="7301417" y="314873"/>
            <a:ext cx="3695558" cy="1220530"/>
          </a:xfrm>
          <a:prstGeom prst="ellipse">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lumMod val="65000"/>
                  </a:schemeClr>
                </a:solidFill>
              </a:rPr>
              <a:t>This list is not exhaustive and is subject to change</a:t>
            </a:r>
            <a:endParaRPr lang="en-US" dirty="0">
              <a:solidFill>
                <a:schemeClr val="bg1">
                  <a:lumMod val="65000"/>
                </a:schemeClr>
              </a:solidFill>
            </a:endParaRPr>
          </a:p>
        </p:txBody>
      </p:sp>
      <p:sp>
        <p:nvSpPr>
          <p:cNvPr id="36" name="Rectangle 35"/>
          <p:cNvSpPr/>
          <p:nvPr/>
        </p:nvSpPr>
        <p:spPr>
          <a:xfrm>
            <a:off x="80568" y="2974897"/>
            <a:ext cx="400140" cy="3850388"/>
          </a:xfrm>
          <a:prstGeom prst="rect">
            <a:avLst/>
          </a:prstGeom>
          <a:solidFill>
            <a:schemeClr val="tx1">
              <a:lumMod val="20000"/>
              <a:lumOff val="80000"/>
            </a:schemeClr>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solidFill>
                  <a:schemeClr val="accent2"/>
                </a:solidFill>
              </a:rPr>
              <a:t>Milestones</a:t>
            </a:r>
            <a:endParaRPr lang="en-US" dirty="0">
              <a:solidFill>
                <a:schemeClr val="accent2"/>
              </a:solidFill>
            </a:endParaRPr>
          </a:p>
        </p:txBody>
      </p:sp>
      <p:grpSp>
        <p:nvGrpSpPr>
          <p:cNvPr id="7" name="Group 6"/>
          <p:cNvGrpSpPr/>
          <p:nvPr/>
        </p:nvGrpSpPr>
        <p:grpSpPr>
          <a:xfrm>
            <a:off x="548423" y="3875529"/>
            <a:ext cx="5140535" cy="696922"/>
            <a:chOff x="548423" y="3897474"/>
            <a:chExt cx="5140535" cy="696922"/>
          </a:xfrm>
        </p:grpSpPr>
        <p:sp>
          <p:nvSpPr>
            <p:cNvPr id="41" name="Right Arrow 40"/>
            <p:cNvSpPr/>
            <p:nvPr/>
          </p:nvSpPr>
          <p:spPr>
            <a:xfrm>
              <a:off x="3397170" y="3897474"/>
              <a:ext cx="2291788" cy="69692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System Configuration</a:t>
              </a:r>
              <a:endParaRPr lang="en-US" sz="1600" dirty="0"/>
            </a:p>
          </p:txBody>
        </p:sp>
        <p:sp>
          <p:nvSpPr>
            <p:cNvPr id="42" name="TextBox 41"/>
            <p:cNvSpPr txBox="1"/>
            <p:nvPr/>
          </p:nvSpPr>
          <p:spPr>
            <a:xfrm>
              <a:off x="548423" y="3900500"/>
              <a:ext cx="2848746" cy="646331"/>
            </a:xfrm>
            <a:prstGeom prst="rect">
              <a:avLst/>
            </a:prstGeom>
            <a:noFill/>
            <a:ln>
              <a:solidFill>
                <a:schemeClr val="accent2"/>
              </a:solidFill>
            </a:ln>
          </p:spPr>
          <p:txBody>
            <a:bodyPr wrap="square" rtlCol="0">
              <a:spAutoFit/>
            </a:bodyPr>
            <a:lstStyle/>
            <a:p>
              <a:pPr marL="285750" indent="-285750">
                <a:buFont typeface="Arial" panose="020B0604020202020204" pitchFamily="34" charset="0"/>
                <a:buChar char="•"/>
              </a:pPr>
              <a:r>
                <a:rPr lang="en-US" sz="1200" dirty="0" smtClean="0">
                  <a:solidFill>
                    <a:schemeClr val="accent2"/>
                  </a:solidFill>
                </a:rPr>
                <a:t>Based on business process design and decisions</a:t>
              </a:r>
            </a:p>
            <a:p>
              <a:pPr marL="285750" indent="-285750">
                <a:buFont typeface="Arial" panose="020B0604020202020204" pitchFamily="34" charset="0"/>
                <a:buChar char="•"/>
              </a:pPr>
              <a:r>
                <a:rPr lang="en-US" sz="1200" dirty="0" smtClean="0">
                  <a:solidFill>
                    <a:schemeClr val="accent2"/>
                  </a:solidFill>
                </a:rPr>
                <a:t>Reviewed by SMEs</a:t>
              </a:r>
            </a:p>
          </p:txBody>
        </p:sp>
      </p:grpSp>
      <p:grpSp>
        <p:nvGrpSpPr>
          <p:cNvPr id="10" name="Group 9"/>
          <p:cNvGrpSpPr/>
          <p:nvPr/>
        </p:nvGrpSpPr>
        <p:grpSpPr>
          <a:xfrm>
            <a:off x="542366" y="2974897"/>
            <a:ext cx="3955769" cy="830997"/>
            <a:chOff x="542366" y="2974897"/>
            <a:chExt cx="3955769" cy="830997"/>
          </a:xfrm>
        </p:grpSpPr>
        <p:grpSp>
          <p:nvGrpSpPr>
            <p:cNvPr id="6" name="Group 5"/>
            <p:cNvGrpSpPr/>
            <p:nvPr/>
          </p:nvGrpSpPr>
          <p:grpSpPr>
            <a:xfrm>
              <a:off x="542366" y="2974897"/>
              <a:ext cx="3468258" cy="830997"/>
              <a:chOff x="542366" y="2974897"/>
              <a:chExt cx="3468258" cy="830997"/>
            </a:xfrm>
          </p:grpSpPr>
          <p:sp>
            <p:nvSpPr>
              <p:cNvPr id="31" name="TextBox 30"/>
              <p:cNvSpPr txBox="1"/>
              <p:nvPr/>
            </p:nvSpPr>
            <p:spPr>
              <a:xfrm>
                <a:off x="542366" y="2974897"/>
                <a:ext cx="1371082" cy="830997"/>
              </a:xfrm>
              <a:prstGeom prst="rect">
                <a:avLst/>
              </a:prstGeom>
              <a:noFill/>
              <a:ln>
                <a:solidFill>
                  <a:schemeClr val="bg1">
                    <a:lumMod val="50000"/>
                  </a:schemeClr>
                </a:solidFill>
              </a:ln>
            </p:spPr>
            <p:txBody>
              <a:bodyPr wrap="square" rtlCol="0">
                <a:spAutoFit/>
              </a:bodyPr>
              <a:lstStyle/>
              <a:p>
                <a:pPr marL="285750" indent="-285750">
                  <a:buFont typeface="Arial" panose="020B0604020202020204" pitchFamily="34" charset="0"/>
                  <a:buChar char="•"/>
                </a:pPr>
                <a:r>
                  <a:rPr lang="en-US" sz="1200" dirty="0" smtClean="0">
                    <a:solidFill>
                      <a:schemeClr val="tx2"/>
                    </a:solidFill>
                  </a:rPr>
                  <a:t>80+ SMEs</a:t>
                </a:r>
              </a:p>
              <a:p>
                <a:pPr marL="285750" indent="-285750">
                  <a:buFont typeface="Arial" panose="020B0604020202020204" pitchFamily="34" charset="0"/>
                  <a:buChar char="•"/>
                </a:pPr>
                <a:r>
                  <a:rPr lang="en-US" sz="1200" dirty="0" smtClean="0">
                    <a:solidFill>
                      <a:schemeClr val="tx2"/>
                    </a:solidFill>
                  </a:rPr>
                  <a:t>200+ hours</a:t>
                </a:r>
              </a:p>
              <a:p>
                <a:pPr marL="285750" indent="-285750">
                  <a:buFont typeface="Arial" panose="020B0604020202020204" pitchFamily="34" charset="0"/>
                  <a:buChar char="•"/>
                </a:pPr>
                <a:r>
                  <a:rPr lang="en-US" sz="1200" dirty="0" smtClean="0">
                    <a:solidFill>
                      <a:schemeClr val="tx2"/>
                    </a:solidFill>
                  </a:rPr>
                  <a:t>25 Processes</a:t>
                </a:r>
              </a:p>
              <a:p>
                <a:pPr marL="285750" indent="-285750">
                  <a:buFont typeface="Arial" panose="020B0604020202020204" pitchFamily="34" charset="0"/>
                  <a:buChar char="•"/>
                </a:pPr>
                <a:r>
                  <a:rPr lang="en-US" sz="1200" dirty="0" smtClean="0">
                    <a:solidFill>
                      <a:schemeClr val="tx2"/>
                    </a:solidFill>
                  </a:rPr>
                  <a:t>Over 1 year</a:t>
                </a:r>
                <a:endParaRPr lang="en-US" sz="1200" dirty="0">
                  <a:solidFill>
                    <a:schemeClr val="tx2"/>
                  </a:solidFill>
                </a:endParaRPr>
              </a:p>
            </p:txBody>
          </p:sp>
          <p:sp>
            <p:nvSpPr>
              <p:cNvPr id="3" name="Rectangle 2"/>
              <p:cNvSpPr/>
              <p:nvPr/>
            </p:nvSpPr>
            <p:spPr>
              <a:xfrm>
                <a:off x="1913448" y="3194894"/>
                <a:ext cx="2097176" cy="351107"/>
              </a:xfrm>
              <a:prstGeom prst="rect">
                <a:avLst/>
              </a:prstGeom>
              <a:solidFill>
                <a:srgbClr val="BFBFBF"/>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Business Process Design</a:t>
                </a:r>
                <a:endParaRPr lang="en-US" sz="1400" dirty="0"/>
              </a:p>
            </p:txBody>
          </p:sp>
        </p:grpSp>
        <p:pic>
          <p:nvPicPr>
            <p:cNvPr id="9" name="Picture 8" descr="Celebrating Writers and Teachers | TWO WRITING TEACHERS"/>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4025945" y="3109238"/>
              <a:ext cx="472190" cy="581156"/>
            </a:xfrm>
            <a:prstGeom prst="rect">
              <a:avLst/>
            </a:prstGeom>
          </p:spPr>
        </p:pic>
      </p:grpSp>
      <p:sp>
        <p:nvSpPr>
          <p:cNvPr id="37" name="TextBox 36"/>
          <p:cNvSpPr txBox="1"/>
          <p:nvPr/>
        </p:nvSpPr>
        <p:spPr>
          <a:xfrm>
            <a:off x="5528879" y="1438206"/>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t>We are here</a:t>
            </a:r>
            <a:endParaRPr lang="en-US" dirty="0"/>
          </a:p>
        </p:txBody>
      </p:sp>
      <p:cxnSp>
        <p:nvCxnSpPr>
          <p:cNvPr id="38" name="Elbow Connector 37"/>
          <p:cNvCxnSpPr>
            <a:stCxn id="37" idx="1"/>
          </p:cNvCxnSpPr>
          <p:nvPr/>
        </p:nvCxnSpPr>
        <p:spPr>
          <a:xfrm rot="10800000" flipV="1">
            <a:off x="5247849" y="1622872"/>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94421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2">
                                            <p:txEl>
                                              <p:pRg st="0" end="0"/>
                                            </p:txEl>
                                          </p:spTgt>
                                        </p:tgtEl>
                                        <p:attrNameLst>
                                          <p:attrName>style.color</p:attrName>
                                        </p:attrNameLst>
                                      </p:cBhvr>
                                      <p:to>
                                        <a:srgbClr val="FFC000"/>
                                      </p:to>
                                    </p:animClr>
                                    <p:animClr clrSpc="rgb" dir="cw">
                                      <p:cBhvr>
                                        <p:cTn id="7" dur="500" fill="hold"/>
                                        <p:tgtEl>
                                          <p:spTgt spid="22">
                                            <p:txEl>
                                              <p:pRg st="0" end="0"/>
                                            </p:txEl>
                                          </p:spTgt>
                                        </p:tgtEl>
                                        <p:attrNameLst>
                                          <p:attrName>fillcolor</p:attrName>
                                        </p:attrNameLst>
                                      </p:cBhvr>
                                      <p:to>
                                        <a:srgbClr val="FFC000"/>
                                      </p:to>
                                    </p:animClr>
                                    <p:set>
                                      <p:cBhvr>
                                        <p:cTn id="8" dur="500" fill="hold"/>
                                        <p:tgtEl>
                                          <p:spTgt spid="22">
                                            <p:txEl>
                                              <p:pRg st="0" end="0"/>
                                            </p:txEl>
                                          </p:spTgt>
                                        </p:tgtEl>
                                        <p:attrNameLst>
                                          <p:attrName>fill.type</p:attrName>
                                        </p:attrNameLst>
                                      </p:cBhvr>
                                      <p:to>
                                        <p:strVal val="solid"/>
                                      </p:to>
                                    </p:set>
                                    <p:set>
                                      <p:cBhvr>
                                        <p:cTn id="9" dur="500" fill="hold"/>
                                        <p:tgtEl>
                                          <p:spTgt spid="22">
                                            <p:txEl>
                                              <p:pRg st="0" end="0"/>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1000"/>
                                        <p:tgtEl>
                                          <p:spTgt spid="39"/>
                                        </p:tgtEl>
                                      </p:cBhvr>
                                    </p:animEffect>
                                    <p:anim calcmode="lin" valueType="num">
                                      <p:cBhvr>
                                        <p:cTn id="36" dur="1000" fill="hold"/>
                                        <p:tgtEl>
                                          <p:spTgt spid="39"/>
                                        </p:tgtEl>
                                        <p:attrNameLst>
                                          <p:attrName>ppt_x</p:attrName>
                                        </p:attrNameLst>
                                      </p:cBhvr>
                                      <p:tavLst>
                                        <p:tav tm="0">
                                          <p:val>
                                            <p:strVal val="#ppt_x"/>
                                          </p:val>
                                        </p:tav>
                                        <p:tav tm="100000">
                                          <p:val>
                                            <p:strVal val="#ppt_x"/>
                                          </p:val>
                                        </p:tav>
                                      </p:tavLst>
                                    </p:anim>
                                    <p:anim calcmode="lin" valueType="num">
                                      <p:cBhvr>
                                        <p:cTn id="37"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1000"/>
                                        <p:tgtEl>
                                          <p:spTgt spid="40"/>
                                        </p:tgtEl>
                                      </p:cBhvr>
                                    </p:animEffect>
                                    <p:anim calcmode="lin" valueType="num">
                                      <p:cBhvr>
                                        <p:cTn id="43" dur="1000" fill="hold"/>
                                        <p:tgtEl>
                                          <p:spTgt spid="40"/>
                                        </p:tgtEl>
                                        <p:attrNameLst>
                                          <p:attrName>ppt_x</p:attrName>
                                        </p:attrNameLst>
                                      </p:cBhvr>
                                      <p:tavLst>
                                        <p:tav tm="0">
                                          <p:val>
                                            <p:strVal val="#ppt_x"/>
                                          </p:val>
                                        </p:tav>
                                        <p:tav tm="100000">
                                          <p:val>
                                            <p:strVal val="#ppt_x"/>
                                          </p:val>
                                        </p:tav>
                                      </p:tavLst>
                                    </p:anim>
                                    <p:anim calcmode="lin" valueType="num">
                                      <p:cBhvr>
                                        <p:cTn id="4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a:t>
            </a:r>
            <a:endParaRPr lang="en-US" dirty="0"/>
          </a:p>
        </p:txBody>
      </p:sp>
      <p:sp>
        <p:nvSpPr>
          <p:cNvPr id="4" name="Text Placeholder 3"/>
          <p:cNvSpPr>
            <a:spLocks noGrp="1"/>
          </p:cNvSpPr>
          <p:nvPr>
            <p:ph type="body" sz="quarter" idx="13"/>
          </p:nvPr>
        </p:nvSpPr>
        <p:spPr/>
        <p:txBody>
          <a:bodyPr/>
          <a:lstStyle/>
          <a:p>
            <a:r>
              <a:rPr lang="en-US" dirty="0" smtClean="0"/>
              <a:t>Business Process Review Goals</a:t>
            </a:r>
            <a:endParaRPr lang="en-US" dirty="0"/>
          </a:p>
        </p:txBody>
      </p:sp>
      <p:graphicFrame>
        <p:nvGraphicFramePr>
          <p:cNvPr id="5" name="Content Placeholder 5"/>
          <p:cNvGraphicFramePr>
            <a:graphicFrameLocks/>
          </p:cNvGraphicFramePr>
          <p:nvPr>
            <p:extLst>
              <p:ext uri="{D42A27DB-BD31-4B8C-83A1-F6EECF244321}">
                <p14:modId xmlns:p14="http://schemas.microsoft.com/office/powerpoint/2010/main" val="1066996379"/>
              </p:ext>
            </p:extLst>
          </p:nvPr>
        </p:nvGraphicFramePr>
        <p:xfrm>
          <a:off x="467496" y="1824373"/>
          <a:ext cx="11309350" cy="4475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70589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cess Review</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041106" y="2224371"/>
            <a:ext cx="1601623" cy="1601623"/>
          </a:xfrm>
        </p:spPr>
      </p:pic>
      <p:sp>
        <p:nvSpPr>
          <p:cNvPr id="4" name="Text Placeholder 3"/>
          <p:cNvSpPr>
            <a:spLocks noGrp="1"/>
          </p:cNvSpPr>
          <p:nvPr>
            <p:ph type="body" sz="quarter" idx="13"/>
          </p:nvPr>
        </p:nvSpPr>
        <p:spPr/>
        <p:txBody>
          <a:bodyPr/>
          <a:lstStyle/>
          <a:p>
            <a:r>
              <a:rPr lang="en-US" dirty="0" smtClean="0"/>
              <a:t>Coming up with a proposed future state</a:t>
            </a:r>
            <a:endParaRPr lang="en-US" dirty="0"/>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7644" y="3169525"/>
            <a:ext cx="932610" cy="932610"/>
          </a:xfrm>
          <a:prstGeom prst="rect">
            <a:avLst/>
          </a:prstGeom>
        </p:spPr>
      </p:pic>
      <p:sp>
        <p:nvSpPr>
          <p:cNvPr id="11" name="TextBox 10"/>
          <p:cNvSpPr txBox="1"/>
          <p:nvPr/>
        </p:nvSpPr>
        <p:spPr>
          <a:xfrm>
            <a:off x="3147650" y="4092831"/>
            <a:ext cx="2690856" cy="830997"/>
          </a:xfrm>
          <a:prstGeom prst="rect">
            <a:avLst/>
          </a:prstGeom>
          <a:noFill/>
        </p:spPr>
        <p:txBody>
          <a:bodyPr wrap="square" rtlCol="0">
            <a:spAutoFit/>
          </a:bodyPr>
          <a:lstStyle/>
          <a:p>
            <a:r>
              <a:rPr lang="en-US" sz="1600" dirty="0" smtClean="0">
                <a:solidFill>
                  <a:srgbClr val="05BFD5"/>
                </a:solidFill>
              </a:rPr>
              <a:t>Project Team meets with groups of SMEs to conduct current state mapping</a:t>
            </a:r>
            <a:endParaRPr lang="en-US" sz="1600" dirty="0">
              <a:solidFill>
                <a:srgbClr val="05BFD5"/>
              </a:solidFill>
            </a:endParaRPr>
          </a:p>
        </p:txBody>
      </p:sp>
      <p:sp>
        <p:nvSpPr>
          <p:cNvPr id="13" name="TextBox 12"/>
          <p:cNvSpPr txBox="1"/>
          <p:nvPr/>
        </p:nvSpPr>
        <p:spPr>
          <a:xfrm>
            <a:off x="165702" y="4019813"/>
            <a:ext cx="2559829" cy="1323439"/>
          </a:xfrm>
          <a:prstGeom prst="rect">
            <a:avLst/>
          </a:prstGeom>
          <a:noFill/>
        </p:spPr>
        <p:txBody>
          <a:bodyPr wrap="square" rtlCol="0">
            <a:spAutoFit/>
          </a:bodyPr>
          <a:lstStyle/>
          <a:p>
            <a:r>
              <a:rPr lang="en-US" sz="1600" dirty="0" smtClean="0">
                <a:solidFill>
                  <a:srgbClr val="05BFD5"/>
                </a:solidFill>
              </a:rPr>
              <a:t>Project Governance provides the Project Team with names of SMEs for designated business process reviews</a:t>
            </a:r>
            <a:endParaRPr lang="en-US" sz="1600" dirty="0">
              <a:solidFill>
                <a:srgbClr val="05BFD5"/>
              </a:solidFill>
            </a:endParaRPr>
          </a:p>
        </p:txBody>
      </p:sp>
      <p:sp>
        <p:nvSpPr>
          <p:cNvPr id="15" name="TextBox 14"/>
          <p:cNvSpPr txBox="1"/>
          <p:nvPr/>
        </p:nvSpPr>
        <p:spPr>
          <a:xfrm>
            <a:off x="6339788" y="4035985"/>
            <a:ext cx="2770984" cy="1815882"/>
          </a:xfrm>
          <a:prstGeom prst="rect">
            <a:avLst/>
          </a:prstGeom>
          <a:noFill/>
        </p:spPr>
        <p:txBody>
          <a:bodyPr wrap="square" rtlCol="0">
            <a:spAutoFit/>
          </a:bodyPr>
          <a:lstStyle/>
          <a:p>
            <a:r>
              <a:rPr lang="en-US" sz="1600" dirty="0" smtClean="0">
                <a:solidFill>
                  <a:srgbClr val="05BFD5"/>
                </a:solidFill>
              </a:rPr>
              <a:t>SMEs Business Process Design Teams applies Lean Six Sigma methodology and works with Project Team to consult with the vendor and come up with and vote on an improved proposed future state  </a:t>
            </a:r>
            <a:endParaRPr lang="en-US" sz="1600" dirty="0">
              <a:solidFill>
                <a:srgbClr val="05BFD5"/>
              </a:solidFill>
            </a:endParaRPr>
          </a:p>
        </p:txBody>
      </p:sp>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t="54480"/>
          <a:stretch/>
        </p:blipFill>
        <p:spPr>
          <a:xfrm>
            <a:off x="3476520" y="3650722"/>
            <a:ext cx="932610" cy="424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364" y="2254486"/>
            <a:ext cx="1927494" cy="1927494"/>
          </a:xfrm>
          <a:prstGeom prst="rect">
            <a:avLst/>
          </a:prstGeom>
        </p:spPr>
      </p:pic>
      <p:sp>
        <p:nvSpPr>
          <p:cNvPr id="20" name="TextBox 19"/>
          <p:cNvSpPr txBox="1"/>
          <p:nvPr/>
        </p:nvSpPr>
        <p:spPr>
          <a:xfrm>
            <a:off x="9421016" y="4093824"/>
            <a:ext cx="2770984" cy="1569660"/>
          </a:xfrm>
          <a:prstGeom prst="rect">
            <a:avLst/>
          </a:prstGeom>
          <a:noFill/>
        </p:spPr>
        <p:txBody>
          <a:bodyPr wrap="square" rtlCol="0">
            <a:spAutoFit/>
          </a:bodyPr>
          <a:lstStyle/>
          <a:p>
            <a:r>
              <a:rPr lang="en-US" sz="1600" dirty="0" smtClean="0">
                <a:solidFill>
                  <a:srgbClr val="05BFD5"/>
                </a:solidFill>
              </a:rPr>
              <a:t>Project Team presents the proposed future state to the Project Governance for review and final approval before passing the proposed future state on for configuration</a:t>
            </a:r>
            <a:endParaRPr lang="en-US" sz="1600" dirty="0">
              <a:solidFill>
                <a:srgbClr val="05BFD5"/>
              </a:solidFill>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1336" y="2402154"/>
            <a:ext cx="1449771" cy="1449771"/>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8953" y="1860866"/>
            <a:ext cx="589162" cy="589162"/>
          </a:xfrm>
          <a:prstGeom prst="rect">
            <a:avLst/>
          </a:prstGeom>
          <a:ln>
            <a:solidFill>
              <a:schemeClr val="tx2"/>
            </a:solidFill>
          </a:ln>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90242" y="2579625"/>
            <a:ext cx="528222" cy="528222"/>
          </a:xfrm>
          <a:prstGeom prst="rect">
            <a:avLst/>
          </a:prstGeom>
          <a:ln>
            <a:solidFill>
              <a:schemeClr val="tx2"/>
            </a:solidFill>
          </a:ln>
        </p:spPr>
      </p:pic>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4854" y="1963930"/>
            <a:ext cx="520331" cy="520331"/>
          </a:xfrm>
          <a:prstGeom prst="rect">
            <a:avLst/>
          </a:prstGeom>
          <a:ln>
            <a:solidFill>
              <a:schemeClr val="tx2"/>
            </a:solidFill>
          </a:ln>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57144" y="2625628"/>
            <a:ext cx="619507" cy="619507"/>
          </a:xfrm>
          <a:prstGeom prst="rect">
            <a:avLst/>
          </a:prstGeom>
          <a:ln>
            <a:solidFill>
              <a:schemeClr val="tx2"/>
            </a:solidFill>
          </a:ln>
        </p:spPr>
      </p:pic>
      <p:sp>
        <p:nvSpPr>
          <p:cNvPr id="49" name="Rectangle 48"/>
          <p:cNvSpPr/>
          <p:nvPr/>
        </p:nvSpPr>
        <p:spPr>
          <a:xfrm>
            <a:off x="202084" y="1885153"/>
            <a:ext cx="425116" cy="369332"/>
          </a:xfrm>
          <a:prstGeom prst="rect">
            <a:avLst/>
          </a:prstGeom>
        </p:spPr>
        <p:txBody>
          <a:bodyPr wrap="none">
            <a:spAutoFit/>
          </a:bodyPr>
          <a:lstStyle/>
          <a:p>
            <a:r>
              <a:rPr lang="en-US" dirty="0">
                <a:solidFill>
                  <a:srgbClr val="05BFD5"/>
                </a:solidFill>
              </a:rPr>
              <a:t>1) </a:t>
            </a:r>
          </a:p>
        </p:txBody>
      </p:sp>
      <p:sp>
        <p:nvSpPr>
          <p:cNvPr id="50" name="Rectangle 49"/>
          <p:cNvSpPr/>
          <p:nvPr/>
        </p:nvSpPr>
        <p:spPr>
          <a:xfrm>
            <a:off x="3038021" y="1919989"/>
            <a:ext cx="425116" cy="369332"/>
          </a:xfrm>
          <a:prstGeom prst="rect">
            <a:avLst/>
          </a:prstGeom>
        </p:spPr>
        <p:txBody>
          <a:bodyPr wrap="none">
            <a:spAutoFit/>
          </a:bodyPr>
          <a:lstStyle/>
          <a:p>
            <a:r>
              <a:rPr lang="en-US" dirty="0" smtClean="0">
                <a:solidFill>
                  <a:srgbClr val="05BFD5"/>
                </a:solidFill>
              </a:rPr>
              <a:t>2) </a:t>
            </a:r>
            <a:endParaRPr lang="en-US" dirty="0">
              <a:solidFill>
                <a:srgbClr val="05BFD5"/>
              </a:solidFill>
            </a:endParaRPr>
          </a:p>
        </p:txBody>
      </p:sp>
      <p:sp>
        <p:nvSpPr>
          <p:cNvPr id="51" name="Rectangle 50"/>
          <p:cNvSpPr/>
          <p:nvPr/>
        </p:nvSpPr>
        <p:spPr>
          <a:xfrm>
            <a:off x="6310006" y="1924487"/>
            <a:ext cx="425116" cy="369332"/>
          </a:xfrm>
          <a:prstGeom prst="rect">
            <a:avLst/>
          </a:prstGeom>
        </p:spPr>
        <p:txBody>
          <a:bodyPr wrap="none">
            <a:spAutoFit/>
          </a:bodyPr>
          <a:lstStyle/>
          <a:p>
            <a:r>
              <a:rPr lang="en-US" dirty="0" smtClean="0">
                <a:solidFill>
                  <a:srgbClr val="05BFD5"/>
                </a:solidFill>
              </a:rPr>
              <a:t>3) </a:t>
            </a:r>
            <a:endParaRPr lang="en-US" dirty="0">
              <a:solidFill>
                <a:srgbClr val="05BFD5"/>
              </a:solidFill>
            </a:endParaRPr>
          </a:p>
        </p:txBody>
      </p:sp>
      <p:sp>
        <p:nvSpPr>
          <p:cNvPr id="52" name="Rectangle 51"/>
          <p:cNvSpPr/>
          <p:nvPr/>
        </p:nvSpPr>
        <p:spPr>
          <a:xfrm>
            <a:off x="9374609" y="1897963"/>
            <a:ext cx="425116" cy="369332"/>
          </a:xfrm>
          <a:prstGeom prst="rect">
            <a:avLst/>
          </a:prstGeom>
        </p:spPr>
        <p:txBody>
          <a:bodyPr wrap="none">
            <a:spAutoFit/>
          </a:bodyPr>
          <a:lstStyle/>
          <a:p>
            <a:r>
              <a:rPr lang="en-US" dirty="0" smtClean="0">
                <a:solidFill>
                  <a:srgbClr val="05BFD5"/>
                </a:solidFill>
              </a:rPr>
              <a:t>4) </a:t>
            </a:r>
            <a:endParaRPr lang="en-US" dirty="0">
              <a:solidFill>
                <a:srgbClr val="05BFD5"/>
              </a:solidFill>
            </a:endParaRPr>
          </a:p>
        </p:txBody>
      </p:sp>
      <p:sp>
        <p:nvSpPr>
          <p:cNvPr id="53" name="Rounded Rectangle 52"/>
          <p:cNvSpPr/>
          <p:nvPr/>
        </p:nvSpPr>
        <p:spPr>
          <a:xfrm>
            <a:off x="78372" y="1793966"/>
            <a:ext cx="2647159"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Rounded Rectangle 53"/>
          <p:cNvSpPr/>
          <p:nvPr/>
        </p:nvSpPr>
        <p:spPr>
          <a:xfrm>
            <a:off x="2907089" y="1780951"/>
            <a:ext cx="3094376"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2" name="Right Arrow 21"/>
          <p:cNvSpPr/>
          <p:nvPr/>
        </p:nvSpPr>
        <p:spPr>
          <a:xfrm>
            <a:off x="2521867" y="374651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5" name="Rounded Rectangle 54"/>
          <p:cNvSpPr/>
          <p:nvPr/>
        </p:nvSpPr>
        <p:spPr>
          <a:xfrm>
            <a:off x="6163043" y="1772512"/>
            <a:ext cx="2999983"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6" name="Picture 5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87167" y="2309081"/>
            <a:ext cx="1927494" cy="1927494"/>
          </a:xfrm>
          <a:prstGeom prst="rect">
            <a:avLst/>
          </a:prstGeom>
        </p:spPr>
      </p:pic>
      <p:sp>
        <p:nvSpPr>
          <p:cNvPr id="57" name="Rounded Rectangle 56"/>
          <p:cNvSpPr/>
          <p:nvPr/>
        </p:nvSpPr>
        <p:spPr>
          <a:xfrm>
            <a:off x="9284298" y="1719988"/>
            <a:ext cx="2777074"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Right Arrow 20"/>
          <p:cNvSpPr/>
          <p:nvPr/>
        </p:nvSpPr>
        <p:spPr>
          <a:xfrm>
            <a:off x="8939117" y="369377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2998" y="1723898"/>
            <a:ext cx="1467774" cy="1467774"/>
          </a:xfrm>
          <a:prstGeom prst="rect">
            <a:avLst/>
          </a:prstGeom>
        </p:spPr>
      </p:pic>
      <p:sp>
        <p:nvSpPr>
          <p:cNvPr id="7" name="Oval 6"/>
          <p:cNvSpPr/>
          <p:nvPr/>
        </p:nvSpPr>
        <p:spPr>
          <a:xfrm>
            <a:off x="8760596" y="333632"/>
            <a:ext cx="2485742" cy="1088768"/>
          </a:xfrm>
          <a:prstGeom prst="ellipse">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This is oversimplified!  </a:t>
            </a:r>
            <a:endParaRPr lang="en-US" dirty="0">
              <a:solidFill>
                <a:schemeClr val="tx2"/>
              </a:solidFill>
            </a:endParaRPr>
          </a:p>
        </p:txBody>
      </p:sp>
      <p:sp>
        <p:nvSpPr>
          <p:cNvPr id="8" name="Curved Down Arrow 7"/>
          <p:cNvSpPr/>
          <p:nvPr/>
        </p:nvSpPr>
        <p:spPr>
          <a:xfrm>
            <a:off x="5545578" y="3704628"/>
            <a:ext cx="859291" cy="484553"/>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urved Up Arrow 9"/>
          <p:cNvSpPr/>
          <p:nvPr/>
        </p:nvSpPr>
        <p:spPr>
          <a:xfrm flipH="1">
            <a:off x="5512408" y="4323188"/>
            <a:ext cx="809592" cy="48588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036081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Understanding Business Process Review Level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576222463"/>
              </p:ext>
            </p:extLst>
          </p:nvPr>
        </p:nvGraphicFramePr>
        <p:xfrm>
          <a:off x="283846" y="1432468"/>
          <a:ext cx="6396088" cy="44751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rotWithShape="1">
          <a:blip r:embed="rId8"/>
          <a:srcRect b="83632"/>
          <a:stretch/>
        </p:blipFill>
        <p:spPr>
          <a:xfrm>
            <a:off x="6815887" y="1285408"/>
            <a:ext cx="4947744" cy="649320"/>
          </a:xfrm>
          <a:prstGeom prst="rect">
            <a:avLst/>
          </a:prstGeom>
        </p:spPr>
      </p:pic>
      <p:pic>
        <p:nvPicPr>
          <p:cNvPr id="9" name="Picture 8"/>
          <p:cNvPicPr>
            <a:picLocks noChangeAspect="1"/>
          </p:cNvPicPr>
          <p:nvPr/>
        </p:nvPicPr>
        <p:blipFill rotWithShape="1">
          <a:blip r:embed="rId8"/>
          <a:srcRect t="16054" b="67690"/>
          <a:stretch/>
        </p:blipFill>
        <p:spPr>
          <a:xfrm>
            <a:off x="6815887" y="1898861"/>
            <a:ext cx="4947744" cy="644893"/>
          </a:xfrm>
          <a:prstGeom prst="rect">
            <a:avLst/>
          </a:prstGeom>
        </p:spPr>
      </p:pic>
      <p:pic>
        <p:nvPicPr>
          <p:cNvPr id="10" name="Picture 9"/>
          <p:cNvPicPr>
            <a:picLocks noChangeAspect="1"/>
          </p:cNvPicPr>
          <p:nvPr/>
        </p:nvPicPr>
        <p:blipFill rotWithShape="1">
          <a:blip r:embed="rId8"/>
          <a:srcRect t="32785"/>
          <a:stretch/>
        </p:blipFill>
        <p:spPr>
          <a:xfrm>
            <a:off x="6815887" y="2640146"/>
            <a:ext cx="4947744" cy="2666482"/>
          </a:xfrm>
          <a:prstGeom prst="rect">
            <a:avLst/>
          </a:prstGeom>
        </p:spPr>
      </p:pic>
      <p:cxnSp>
        <p:nvCxnSpPr>
          <p:cNvPr id="6" name="Elbow Connector 5"/>
          <p:cNvCxnSpPr/>
          <p:nvPr/>
        </p:nvCxnSpPr>
        <p:spPr>
          <a:xfrm rot="5400000">
            <a:off x="6453017" y="4163196"/>
            <a:ext cx="2376414" cy="103235"/>
          </a:xfrm>
          <a:prstGeom prst="bentConnector3">
            <a:avLst>
              <a:gd name="adj1" fmla="val -349"/>
            </a:avLst>
          </a:prstGeom>
          <a:ln>
            <a:solidFill>
              <a:srgbClr val="005982"/>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6815887" y="5194649"/>
            <a:ext cx="2406316" cy="1169604"/>
            <a:chOff x="6814506" y="5590772"/>
            <a:chExt cx="2406316" cy="1169604"/>
          </a:xfrm>
        </p:grpSpPr>
        <p:pic>
          <p:nvPicPr>
            <p:cNvPr id="51" name="Picture 50"/>
            <p:cNvPicPr>
              <a:picLocks noChangeAspect="1"/>
            </p:cNvPicPr>
            <p:nvPr/>
          </p:nvPicPr>
          <p:blipFill>
            <a:blip r:embed="rId9"/>
            <a:stretch>
              <a:fillRect/>
            </a:stretch>
          </p:blipFill>
          <p:spPr>
            <a:xfrm>
              <a:off x="6910756" y="5810882"/>
              <a:ext cx="2310066" cy="949494"/>
            </a:xfrm>
            <a:prstGeom prst="rect">
              <a:avLst/>
            </a:prstGeom>
          </p:spPr>
        </p:pic>
        <p:sp>
          <p:nvSpPr>
            <p:cNvPr id="11" name="TextBox 10"/>
            <p:cNvSpPr txBox="1"/>
            <p:nvPr/>
          </p:nvSpPr>
          <p:spPr>
            <a:xfrm>
              <a:off x="6814506" y="5590772"/>
              <a:ext cx="1137288" cy="357659"/>
            </a:xfrm>
            <a:prstGeom prst="rect">
              <a:avLst/>
            </a:prstGeom>
            <a:noFill/>
          </p:spPr>
          <p:txBody>
            <a:bodyPr wrap="square" rtlCol="0">
              <a:spAutoFit/>
            </a:bodyPr>
            <a:lstStyle/>
            <a:p>
              <a:r>
                <a:rPr lang="en-US" sz="800" dirty="0" smtClean="0">
                  <a:solidFill>
                    <a:schemeClr val="tx2">
                      <a:lumMod val="50000"/>
                    </a:schemeClr>
                  </a:solidFill>
                </a:rPr>
                <a:t>Level 4</a:t>
              </a:r>
              <a:endParaRPr lang="en-US" sz="800" dirty="0">
                <a:solidFill>
                  <a:schemeClr val="tx2">
                    <a:lumMod val="50000"/>
                  </a:schemeClr>
                </a:solidFill>
              </a:endParaRPr>
            </a:p>
          </p:txBody>
        </p:sp>
      </p:grpSp>
      <p:sp>
        <p:nvSpPr>
          <p:cNvPr id="7" name="Rectangle 6"/>
          <p:cNvSpPr/>
          <p:nvPr/>
        </p:nvSpPr>
        <p:spPr>
          <a:xfrm>
            <a:off x="7715335" y="2751864"/>
            <a:ext cx="606389" cy="423512"/>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8582691" y="1046677"/>
            <a:ext cx="1969477" cy="369332"/>
          </a:xfrm>
          <a:prstGeom prst="rect">
            <a:avLst/>
          </a:prstGeom>
          <a:noFill/>
        </p:spPr>
        <p:txBody>
          <a:bodyPr wrap="square" rtlCol="0">
            <a:spAutoFit/>
          </a:bodyPr>
          <a:lstStyle/>
          <a:p>
            <a:r>
              <a:rPr lang="en-US" dirty="0" smtClean="0"/>
              <a:t>EXAMPLE</a:t>
            </a:r>
            <a:endParaRPr lang="en-US" dirty="0"/>
          </a:p>
        </p:txBody>
      </p:sp>
    </p:spTree>
    <p:extLst>
      <p:ext uri="{BB962C8B-B14F-4D97-AF65-F5344CB8AC3E}">
        <p14:creationId xmlns:p14="http://schemas.microsoft.com/office/powerpoint/2010/main" val="390920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22" presetClass="entr" presetSubtype="1"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up)">
                                      <p:cBhvr>
                                        <p:cTn id="17" dur="500"/>
                                        <p:tgtEl>
                                          <p:spTgt spid="6"/>
                                        </p:tgtEl>
                                      </p:cBhvr>
                                    </p:animEffect>
                                  </p:childTnLst>
                                </p:cTn>
                              </p:par>
                              <p:par>
                                <p:cTn id="18" presetID="1"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Administration – Process Landscape</a:t>
            </a:r>
          </a:p>
        </p:txBody>
      </p:sp>
      <p:sp>
        <p:nvSpPr>
          <p:cNvPr id="4" name="Text Placeholder 3"/>
          <p:cNvSpPr>
            <a:spLocks noGrp="1"/>
          </p:cNvSpPr>
          <p:nvPr>
            <p:ph type="body" sz="quarter" idx="13"/>
          </p:nvPr>
        </p:nvSpPr>
        <p:spPr/>
        <p:txBody>
          <a:bodyPr/>
          <a:lstStyle/>
          <a:p>
            <a:r>
              <a:rPr lang="en-US" dirty="0" smtClean="0"/>
              <a:t>Level 1</a:t>
            </a:r>
            <a:endParaRPr lang="en-US" dirty="0"/>
          </a:p>
        </p:txBody>
      </p:sp>
      <p:pic>
        <p:nvPicPr>
          <p:cNvPr id="5" name="Picture 4"/>
          <p:cNvPicPr>
            <a:picLocks noChangeAspect="1"/>
          </p:cNvPicPr>
          <p:nvPr/>
        </p:nvPicPr>
        <p:blipFill rotWithShape="1">
          <a:blip r:embed="rId3"/>
          <a:srcRect b="67029"/>
          <a:stretch/>
        </p:blipFill>
        <p:spPr>
          <a:xfrm>
            <a:off x="1532465" y="2955180"/>
            <a:ext cx="8971428" cy="1130437"/>
          </a:xfrm>
          <a:prstGeom prst="rect">
            <a:avLst/>
          </a:prstGeom>
        </p:spPr>
      </p:pic>
    </p:spTree>
    <p:extLst>
      <p:ext uri="{BB962C8B-B14F-4D97-AF65-F5344CB8AC3E}">
        <p14:creationId xmlns:p14="http://schemas.microsoft.com/office/powerpoint/2010/main" val="21191339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Kuali</a:t>
            </a:r>
            <a:r>
              <a:rPr lang="en-US" dirty="0" smtClean="0"/>
              <a:t> Research </a:t>
            </a:r>
            <a:br>
              <a:rPr lang="en-US" dirty="0" smtClean="0"/>
            </a:br>
            <a:r>
              <a:rPr lang="en-US" dirty="0" smtClean="0"/>
              <a:t>Sponsored Programs Modules</a:t>
            </a:r>
            <a:endParaRPr lang="en-US" dirty="0"/>
          </a:p>
        </p:txBody>
      </p:sp>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smtClean="0"/>
              <a:t>The scope of the modules under the purview of the </a:t>
            </a:r>
            <a:r>
              <a:rPr lang="en-US" dirty="0" err="1" smtClean="0"/>
              <a:t>Kuali</a:t>
            </a:r>
            <a:r>
              <a:rPr lang="en-US" dirty="0" smtClean="0"/>
              <a:t> Research project</a:t>
            </a:r>
            <a:endParaRPr lang="en-US" dirty="0"/>
          </a:p>
        </p:txBody>
      </p:sp>
      <p:sp>
        <p:nvSpPr>
          <p:cNvPr id="4" name="Slide Number Placeholder 3"/>
          <p:cNvSpPr>
            <a:spLocks noGrp="1"/>
          </p:cNvSpPr>
          <p:nvPr>
            <p:ph type="sldNum" sz="quarter" idx="12"/>
          </p:nvPr>
        </p:nvSpPr>
        <p:spPr/>
        <p:txBody>
          <a:bodyPr/>
          <a:lstStyle/>
          <a:p>
            <a:fld id="{D0A8BD7E-3FB1-46E0-88A2-F69CF9BE5AD3}" type="slidenum">
              <a:rPr lang="en-US" smtClean="0"/>
              <a:pPr/>
              <a:t>2</a:t>
            </a:fld>
            <a:endParaRPr lang="en-US" dirty="0"/>
          </a:p>
        </p:txBody>
      </p:sp>
    </p:spTree>
    <p:extLst>
      <p:ext uri="{BB962C8B-B14F-4D97-AF65-F5344CB8AC3E}">
        <p14:creationId xmlns:p14="http://schemas.microsoft.com/office/powerpoint/2010/main" val="4518599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106278" y="6090358"/>
            <a:ext cx="2743200" cy="365125"/>
          </a:xfrm>
        </p:spPr>
        <p:txBody>
          <a:bodyPr/>
          <a:lstStyle/>
          <a:p>
            <a:fld id="{01269076-0E24-6A49-9E99-48290E2F7D2E}" type="slidenum">
              <a:rPr lang="en-US" smtClean="0"/>
              <a:pPr/>
              <a:t>20</a:t>
            </a:fld>
            <a:endParaRPr lang="en-US"/>
          </a:p>
        </p:txBody>
      </p:sp>
      <p:sp>
        <p:nvSpPr>
          <p:cNvPr id="10" name="Isosceles Triangle 9"/>
          <p:cNvSpPr/>
          <p:nvPr/>
        </p:nvSpPr>
        <p:spPr>
          <a:xfrm rot="16200000">
            <a:off x="2254630" y="2969115"/>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2" name="Picture 1"/>
          <p:cNvPicPr>
            <a:picLocks noChangeAspect="1"/>
          </p:cNvPicPr>
          <p:nvPr/>
        </p:nvPicPr>
        <p:blipFill>
          <a:blip r:embed="rId3"/>
          <a:stretch>
            <a:fillRect/>
          </a:stretch>
        </p:blipFill>
        <p:spPr>
          <a:xfrm>
            <a:off x="5326593" y="878421"/>
            <a:ext cx="6303760" cy="5054366"/>
          </a:xfrm>
          <a:prstGeom prst="rect">
            <a:avLst/>
          </a:prstGeom>
        </p:spPr>
      </p:pic>
      <p:pic>
        <p:nvPicPr>
          <p:cNvPr id="5" name="Picture 4"/>
          <p:cNvPicPr>
            <a:picLocks noChangeAspect="1"/>
          </p:cNvPicPr>
          <p:nvPr/>
        </p:nvPicPr>
        <p:blipFill rotWithShape="1">
          <a:blip r:embed="rId4"/>
          <a:srcRect b="65941"/>
          <a:stretch/>
        </p:blipFill>
        <p:spPr>
          <a:xfrm>
            <a:off x="375195" y="2669096"/>
            <a:ext cx="3866148" cy="501695"/>
          </a:xfrm>
          <a:prstGeom prst="rect">
            <a:avLst/>
          </a:prstGeom>
        </p:spPr>
      </p:pic>
      <p:sp>
        <p:nvSpPr>
          <p:cNvPr id="3" name="Rectangle 2">
            <a:hlinkClick r:id="" action="ppaction://noaction"/>
          </p:cNvPr>
          <p:cNvSpPr/>
          <p:nvPr/>
        </p:nvSpPr>
        <p:spPr>
          <a:xfrm>
            <a:off x="5380912" y="1899617"/>
            <a:ext cx="840830" cy="332686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hlinkClick r:id="" action="ppaction://noaction"/>
          </p:cNvPr>
          <p:cNvSpPr/>
          <p:nvPr/>
        </p:nvSpPr>
        <p:spPr>
          <a:xfrm>
            <a:off x="6426021" y="1899617"/>
            <a:ext cx="859678" cy="403317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hlinkClick r:id="" action="ppaction://noaction"/>
          </p:cNvPr>
          <p:cNvSpPr/>
          <p:nvPr/>
        </p:nvSpPr>
        <p:spPr>
          <a:xfrm>
            <a:off x="7489979" y="1899617"/>
            <a:ext cx="830813" cy="332686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hlinkClick r:id="" action="ppaction://noaction"/>
          </p:cNvPr>
          <p:cNvSpPr/>
          <p:nvPr/>
        </p:nvSpPr>
        <p:spPr>
          <a:xfrm>
            <a:off x="8525072" y="1899617"/>
            <a:ext cx="830813" cy="403317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hlinkClick r:id="" action="ppaction://noaction"/>
          </p:cNvPr>
          <p:cNvSpPr/>
          <p:nvPr/>
        </p:nvSpPr>
        <p:spPr>
          <a:xfrm>
            <a:off x="9560165" y="1888811"/>
            <a:ext cx="830813" cy="3337666"/>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hlinkClick r:id="" action="ppaction://noaction"/>
          </p:cNvPr>
          <p:cNvSpPr/>
          <p:nvPr/>
        </p:nvSpPr>
        <p:spPr>
          <a:xfrm>
            <a:off x="10595258" y="1888811"/>
            <a:ext cx="830815" cy="3337666"/>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404261" y="2708519"/>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5413440" y="3378715"/>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5413440" y="4061754"/>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413440" y="4711752"/>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6426993" y="3389732"/>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8498171" y="3389727"/>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8498170" y="4061757"/>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10591380" y="2695664"/>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10591378" y="4050738"/>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10635449" y="4689720"/>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p:cNvGrpSpPr/>
          <p:nvPr/>
        </p:nvGrpSpPr>
        <p:grpSpPr>
          <a:xfrm>
            <a:off x="1683224" y="3389727"/>
            <a:ext cx="1391648" cy="882260"/>
            <a:chOff x="7037585" y="1582415"/>
            <a:chExt cx="1650368" cy="1034168"/>
          </a:xfrm>
        </p:grpSpPr>
        <p:sp>
          <p:nvSpPr>
            <p:cNvPr id="27" name="Oval 26"/>
            <p:cNvSpPr/>
            <p:nvPr/>
          </p:nvSpPr>
          <p:spPr>
            <a:xfrm>
              <a:off x="7056638" y="2008728"/>
              <a:ext cx="182880" cy="182880"/>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28" name="Group 27"/>
            <p:cNvGrpSpPr/>
            <p:nvPr/>
          </p:nvGrpSpPr>
          <p:grpSpPr>
            <a:xfrm>
              <a:off x="7037585" y="1643945"/>
              <a:ext cx="216130" cy="197379"/>
              <a:chOff x="7315200" y="2837460"/>
              <a:chExt cx="650134" cy="548639"/>
            </a:xfrm>
          </p:grpSpPr>
          <p:cxnSp>
            <p:nvCxnSpPr>
              <p:cNvPr id="33" name="Straight Connector 32"/>
              <p:cNvCxnSpPr/>
              <p:nvPr/>
            </p:nvCxnSpPr>
            <p:spPr>
              <a:xfrm>
                <a:off x="7315200" y="3128225"/>
                <a:ext cx="266006" cy="197378"/>
              </a:xfrm>
              <a:prstGeom prst="line">
                <a:avLst/>
              </a:prstGeom>
              <a:noFill/>
              <a:ln w="57150" cap="flat" cmpd="sng" algn="ctr">
                <a:solidFill>
                  <a:srgbClr val="70AD47"/>
                </a:solidFill>
                <a:prstDash val="solid"/>
                <a:miter lim="800000"/>
              </a:ln>
              <a:effectLst/>
            </p:spPr>
          </p:cxnSp>
          <p:cxnSp>
            <p:nvCxnSpPr>
              <p:cNvPr id="34" name="Straight Connector 33"/>
              <p:cNvCxnSpPr/>
              <p:nvPr/>
            </p:nvCxnSpPr>
            <p:spPr>
              <a:xfrm flipV="1">
                <a:off x="7531193" y="2837460"/>
                <a:ext cx="434141" cy="548639"/>
              </a:xfrm>
              <a:prstGeom prst="line">
                <a:avLst/>
              </a:prstGeom>
              <a:noFill/>
              <a:ln w="57150" cap="flat" cmpd="sng" algn="ctr">
                <a:solidFill>
                  <a:srgbClr val="70AD47"/>
                </a:solidFill>
                <a:prstDash val="solid"/>
                <a:miter lim="800000"/>
              </a:ln>
              <a:effectLst/>
            </p:spPr>
          </p:cxnSp>
        </p:grpSp>
        <p:sp>
          <p:nvSpPr>
            <p:cNvPr id="29" name="TextBox 28"/>
            <p:cNvSpPr txBox="1"/>
            <p:nvPr/>
          </p:nvSpPr>
          <p:spPr>
            <a:xfrm>
              <a:off x="7356354" y="1582415"/>
              <a:ext cx="1031569" cy="32469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Completed</a:t>
              </a:r>
            </a:p>
          </p:txBody>
        </p:sp>
        <p:sp>
          <p:nvSpPr>
            <p:cNvPr id="30" name="TextBox 29"/>
            <p:cNvSpPr txBox="1"/>
            <p:nvPr/>
          </p:nvSpPr>
          <p:spPr>
            <a:xfrm>
              <a:off x="7356354" y="1918056"/>
              <a:ext cx="1034837" cy="32469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In Progress</a:t>
              </a:r>
            </a:p>
          </p:txBody>
        </p:sp>
        <p:sp>
          <p:nvSpPr>
            <p:cNvPr id="31" name="Isosceles Triangle 30"/>
            <p:cNvSpPr/>
            <p:nvPr/>
          </p:nvSpPr>
          <p:spPr>
            <a:xfrm>
              <a:off x="7056638" y="2347102"/>
              <a:ext cx="229141" cy="202954"/>
            </a:xfrm>
            <a:prstGeom prst="triangle">
              <a:avLst/>
            </a:prstGeom>
            <a:solidFill>
              <a:srgbClr val="7030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32" name="TextBox 31"/>
            <p:cNvSpPr txBox="1"/>
            <p:nvPr/>
          </p:nvSpPr>
          <p:spPr>
            <a:xfrm>
              <a:off x="7344694" y="2291890"/>
              <a:ext cx="1343259" cy="32469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Not Yet Started</a:t>
              </a:r>
            </a:p>
          </p:txBody>
        </p:sp>
      </p:grpSp>
      <p:sp>
        <p:nvSpPr>
          <p:cNvPr id="7" name="Rectangle 6"/>
          <p:cNvSpPr/>
          <p:nvPr/>
        </p:nvSpPr>
        <p:spPr>
          <a:xfrm>
            <a:off x="5356176" y="6049335"/>
            <a:ext cx="6123151" cy="369332"/>
          </a:xfrm>
          <a:prstGeom prst="rect">
            <a:avLst/>
          </a:prstGeom>
        </p:spPr>
        <p:txBody>
          <a:bodyPr wrap="none">
            <a:spAutoFit/>
          </a:bodyPr>
          <a:lstStyle/>
          <a:p>
            <a:r>
              <a:rPr lang="en-US" dirty="0" smtClean="0">
                <a:hlinkClick r:id="rId5"/>
              </a:rPr>
              <a:t>http://esr.ucsd.edu/projects/kuali-research/process/index.html</a:t>
            </a:r>
            <a:r>
              <a:rPr lang="en-US" dirty="0" smtClean="0"/>
              <a:t> </a:t>
            </a:r>
            <a:endParaRPr lang="en-US" dirty="0"/>
          </a:p>
        </p:txBody>
      </p:sp>
      <p:grpSp>
        <p:nvGrpSpPr>
          <p:cNvPr id="59" name="Group 58"/>
          <p:cNvGrpSpPr/>
          <p:nvPr/>
        </p:nvGrpSpPr>
        <p:grpSpPr>
          <a:xfrm>
            <a:off x="7124134" y="2998239"/>
            <a:ext cx="4403186" cy="2886133"/>
            <a:chOff x="7124134" y="3345711"/>
            <a:chExt cx="4403186" cy="2886133"/>
          </a:xfrm>
        </p:grpSpPr>
        <p:pic>
          <p:nvPicPr>
            <p:cNvPr id="40" name="Picture 39"/>
            <p:cNvPicPr>
              <a:picLocks noChangeAspect="1"/>
            </p:cNvPicPr>
            <p:nvPr/>
          </p:nvPicPr>
          <p:blipFill>
            <a:blip r:embed="rId6"/>
            <a:stretch>
              <a:fillRect/>
            </a:stretch>
          </p:blipFill>
          <p:spPr>
            <a:xfrm>
              <a:off x="7127308" y="3345711"/>
              <a:ext cx="231668" cy="213378"/>
            </a:xfrm>
            <a:prstGeom prst="rect">
              <a:avLst/>
            </a:prstGeom>
          </p:spPr>
        </p:pic>
        <p:pic>
          <p:nvPicPr>
            <p:cNvPr id="43" name="Picture 42"/>
            <p:cNvPicPr>
              <a:picLocks noChangeAspect="1"/>
            </p:cNvPicPr>
            <p:nvPr/>
          </p:nvPicPr>
          <p:blipFill>
            <a:blip r:embed="rId6"/>
            <a:stretch>
              <a:fillRect/>
            </a:stretch>
          </p:blipFill>
          <p:spPr>
            <a:xfrm>
              <a:off x="7127308" y="4725538"/>
              <a:ext cx="231668" cy="213378"/>
            </a:xfrm>
            <a:prstGeom prst="rect">
              <a:avLst/>
            </a:prstGeom>
          </p:spPr>
        </p:pic>
        <p:pic>
          <p:nvPicPr>
            <p:cNvPr id="44" name="Picture 43"/>
            <p:cNvPicPr>
              <a:picLocks noChangeAspect="1"/>
            </p:cNvPicPr>
            <p:nvPr/>
          </p:nvPicPr>
          <p:blipFill>
            <a:blip r:embed="rId6"/>
            <a:stretch>
              <a:fillRect/>
            </a:stretch>
          </p:blipFill>
          <p:spPr>
            <a:xfrm>
              <a:off x="7124134" y="5386803"/>
              <a:ext cx="231668" cy="213378"/>
            </a:xfrm>
            <a:prstGeom prst="rect">
              <a:avLst/>
            </a:prstGeom>
          </p:spPr>
        </p:pic>
        <p:pic>
          <p:nvPicPr>
            <p:cNvPr id="45" name="Picture 44"/>
            <p:cNvPicPr>
              <a:picLocks noChangeAspect="1"/>
            </p:cNvPicPr>
            <p:nvPr/>
          </p:nvPicPr>
          <p:blipFill>
            <a:blip r:embed="rId6"/>
            <a:stretch>
              <a:fillRect/>
            </a:stretch>
          </p:blipFill>
          <p:spPr>
            <a:xfrm>
              <a:off x="7131267" y="6018466"/>
              <a:ext cx="231668" cy="213378"/>
            </a:xfrm>
            <a:prstGeom prst="rect">
              <a:avLst/>
            </a:prstGeom>
          </p:spPr>
        </p:pic>
        <p:pic>
          <p:nvPicPr>
            <p:cNvPr id="46" name="Picture 45"/>
            <p:cNvPicPr>
              <a:picLocks noChangeAspect="1"/>
            </p:cNvPicPr>
            <p:nvPr/>
          </p:nvPicPr>
          <p:blipFill>
            <a:blip r:embed="rId6"/>
            <a:stretch>
              <a:fillRect/>
            </a:stretch>
          </p:blipFill>
          <p:spPr>
            <a:xfrm>
              <a:off x="8166260" y="3383570"/>
              <a:ext cx="231668" cy="213378"/>
            </a:xfrm>
            <a:prstGeom prst="rect">
              <a:avLst/>
            </a:prstGeom>
          </p:spPr>
        </p:pic>
        <p:pic>
          <p:nvPicPr>
            <p:cNvPr id="47" name="Picture 46"/>
            <p:cNvPicPr>
              <a:picLocks noChangeAspect="1"/>
            </p:cNvPicPr>
            <p:nvPr/>
          </p:nvPicPr>
          <p:blipFill>
            <a:blip r:embed="rId6"/>
            <a:stretch>
              <a:fillRect/>
            </a:stretch>
          </p:blipFill>
          <p:spPr>
            <a:xfrm>
              <a:off x="8148729" y="4049941"/>
              <a:ext cx="231668" cy="213378"/>
            </a:xfrm>
            <a:prstGeom prst="rect">
              <a:avLst/>
            </a:prstGeom>
          </p:spPr>
        </p:pic>
        <p:pic>
          <p:nvPicPr>
            <p:cNvPr id="48" name="Picture 47"/>
            <p:cNvPicPr>
              <a:picLocks noChangeAspect="1"/>
            </p:cNvPicPr>
            <p:nvPr/>
          </p:nvPicPr>
          <p:blipFill>
            <a:blip r:embed="rId6"/>
            <a:stretch>
              <a:fillRect/>
            </a:stretch>
          </p:blipFill>
          <p:spPr>
            <a:xfrm>
              <a:off x="8189751" y="5369360"/>
              <a:ext cx="231668" cy="213378"/>
            </a:xfrm>
            <a:prstGeom prst="rect">
              <a:avLst/>
            </a:prstGeom>
          </p:spPr>
        </p:pic>
        <p:pic>
          <p:nvPicPr>
            <p:cNvPr id="49" name="Picture 48"/>
            <p:cNvPicPr>
              <a:picLocks noChangeAspect="1"/>
            </p:cNvPicPr>
            <p:nvPr/>
          </p:nvPicPr>
          <p:blipFill>
            <a:blip r:embed="rId6"/>
            <a:stretch>
              <a:fillRect/>
            </a:stretch>
          </p:blipFill>
          <p:spPr>
            <a:xfrm>
              <a:off x="10252213" y="3383570"/>
              <a:ext cx="231668" cy="213378"/>
            </a:xfrm>
            <a:prstGeom prst="rect">
              <a:avLst/>
            </a:prstGeom>
          </p:spPr>
        </p:pic>
        <p:pic>
          <p:nvPicPr>
            <p:cNvPr id="50" name="Picture 49"/>
            <p:cNvPicPr>
              <a:picLocks noChangeAspect="1"/>
            </p:cNvPicPr>
            <p:nvPr/>
          </p:nvPicPr>
          <p:blipFill>
            <a:blip r:embed="rId6"/>
            <a:stretch>
              <a:fillRect/>
            </a:stretch>
          </p:blipFill>
          <p:spPr>
            <a:xfrm>
              <a:off x="10241655" y="4023183"/>
              <a:ext cx="231668" cy="213378"/>
            </a:xfrm>
            <a:prstGeom prst="rect">
              <a:avLst/>
            </a:prstGeom>
          </p:spPr>
        </p:pic>
        <p:pic>
          <p:nvPicPr>
            <p:cNvPr id="51" name="Picture 50"/>
            <p:cNvPicPr>
              <a:picLocks noChangeAspect="1"/>
            </p:cNvPicPr>
            <p:nvPr/>
          </p:nvPicPr>
          <p:blipFill>
            <a:blip r:embed="rId6"/>
            <a:stretch>
              <a:fillRect/>
            </a:stretch>
          </p:blipFill>
          <p:spPr>
            <a:xfrm>
              <a:off x="10241936" y="4741358"/>
              <a:ext cx="231668" cy="213378"/>
            </a:xfrm>
            <a:prstGeom prst="rect">
              <a:avLst/>
            </a:prstGeom>
          </p:spPr>
        </p:pic>
        <p:pic>
          <p:nvPicPr>
            <p:cNvPr id="52" name="Picture 51"/>
            <p:cNvPicPr>
              <a:picLocks noChangeAspect="1"/>
            </p:cNvPicPr>
            <p:nvPr/>
          </p:nvPicPr>
          <p:blipFill>
            <a:blip r:embed="rId6"/>
            <a:stretch>
              <a:fillRect/>
            </a:stretch>
          </p:blipFill>
          <p:spPr>
            <a:xfrm>
              <a:off x="10267852" y="5354428"/>
              <a:ext cx="231668" cy="213378"/>
            </a:xfrm>
            <a:prstGeom prst="rect">
              <a:avLst/>
            </a:prstGeom>
          </p:spPr>
        </p:pic>
        <p:pic>
          <p:nvPicPr>
            <p:cNvPr id="53" name="Picture 52"/>
            <p:cNvPicPr>
              <a:picLocks noChangeAspect="1"/>
            </p:cNvPicPr>
            <p:nvPr/>
          </p:nvPicPr>
          <p:blipFill>
            <a:blip r:embed="rId6"/>
            <a:stretch>
              <a:fillRect/>
            </a:stretch>
          </p:blipFill>
          <p:spPr>
            <a:xfrm>
              <a:off x="11295652" y="4037797"/>
              <a:ext cx="231668" cy="213378"/>
            </a:xfrm>
            <a:prstGeom prst="rect">
              <a:avLst/>
            </a:prstGeom>
          </p:spPr>
        </p:pic>
        <p:pic>
          <p:nvPicPr>
            <p:cNvPr id="56" name="Picture 55"/>
            <p:cNvPicPr>
              <a:picLocks noChangeAspect="1"/>
            </p:cNvPicPr>
            <p:nvPr/>
          </p:nvPicPr>
          <p:blipFill>
            <a:blip r:embed="rId6"/>
            <a:stretch>
              <a:fillRect/>
            </a:stretch>
          </p:blipFill>
          <p:spPr>
            <a:xfrm>
              <a:off x="9178488" y="5354428"/>
              <a:ext cx="231668" cy="213378"/>
            </a:xfrm>
            <a:prstGeom prst="rect">
              <a:avLst/>
            </a:prstGeom>
          </p:spPr>
        </p:pic>
        <p:pic>
          <p:nvPicPr>
            <p:cNvPr id="57" name="Picture 56"/>
            <p:cNvPicPr>
              <a:picLocks noChangeAspect="1"/>
            </p:cNvPicPr>
            <p:nvPr/>
          </p:nvPicPr>
          <p:blipFill>
            <a:blip r:embed="rId6"/>
            <a:stretch>
              <a:fillRect/>
            </a:stretch>
          </p:blipFill>
          <p:spPr>
            <a:xfrm>
              <a:off x="9220818" y="5997955"/>
              <a:ext cx="231668" cy="213378"/>
            </a:xfrm>
            <a:prstGeom prst="rect">
              <a:avLst/>
            </a:prstGeom>
          </p:spPr>
        </p:pic>
        <p:pic>
          <p:nvPicPr>
            <p:cNvPr id="58" name="Picture 57"/>
            <p:cNvPicPr>
              <a:picLocks noChangeAspect="1"/>
            </p:cNvPicPr>
            <p:nvPr/>
          </p:nvPicPr>
          <p:blipFill>
            <a:blip r:embed="rId6"/>
            <a:stretch>
              <a:fillRect/>
            </a:stretch>
          </p:blipFill>
          <p:spPr>
            <a:xfrm>
              <a:off x="9202444" y="3366250"/>
              <a:ext cx="231668" cy="213378"/>
            </a:xfrm>
            <a:prstGeom prst="rect">
              <a:avLst/>
            </a:prstGeom>
          </p:spPr>
        </p:pic>
      </p:grpSp>
      <p:grpSp>
        <p:nvGrpSpPr>
          <p:cNvPr id="73" name="Group 72"/>
          <p:cNvGrpSpPr/>
          <p:nvPr/>
        </p:nvGrpSpPr>
        <p:grpSpPr>
          <a:xfrm>
            <a:off x="941832" y="4747967"/>
            <a:ext cx="4298277" cy="1479048"/>
            <a:chOff x="941832" y="4747967"/>
            <a:chExt cx="4298277" cy="1479048"/>
          </a:xfrm>
        </p:grpSpPr>
        <p:sp>
          <p:nvSpPr>
            <p:cNvPr id="63" name="TextBox 62"/>
            <p:cNvSpPr txBox="1"/>
            <p:nvPr/>
          </p:nvSpPr>
          <p:spPr>
            <a:xfrm>
              <a:off x="941832" y="4747967"/>
              <a:ext cx="2715768" cy="923330"/>
            </a:xfrm>
            <a:prstGeom prst="rect">
              <a:avLst/>
            </a:prstGeom>
            <a:solidFill>
              <a:schemeClr val="bg1">
                <a:lumMod val="95000"/>
              </a:schemeClr>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solidFill>
                    <a:schemeClr val="tx1">
                      <a:lumMod val="50000"/>
                    </a:schemeClr>
                  </a:solidFill>
                </a:rPr>
                <a:t>Visit the Business Process Webpage for updates and to see who is involved</a:t>
              </a:r>
              <a:endParaRPr lang="en-US" dirty="0">
                <a:solidFill>
                  <a:schemeClr val="tx1">
                    <a:lumMod val="50000"/>
                  </a:schemeClr>
                </a:solidFill>
              </a:endParaRPr>
            </a:p>
          </p:txBody>
        </p:sp>
        <p:cxnSp>
          <p:nvCxnSpPr>
            <p:cNvPr id="64" name="Elbow Connector 63"/>
            <p:cNvCxnSpPr>
              <a:stCxn id="63" idx="2"/>
            </p:cNvCxnSpPr>
            <p:nvPr/>
          </p:nvCxnSpPr>
          <p:spPr>
            <a:xfrm rot="16200000" flipH="1">
              <a:off x="3492053" y="4478960"/>
              <a:ext cx="555719" cy="2940392"/>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gr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45911" y="4299625"/>
            <a:ext cx="317430" cy="317430"/>
          </a:xfrm>
          <a:prstGeom prst="rect">
            <a:avLst/>
          </a:prstGeom>
        </p:spPr>
      </p:pic>
      <p:sp>
        <p:nvSpPr>
          <p:cNvPr id="54" name="TextBox 53"/>
          <p:cNvSpPr txBox="1"/>
          <p:nvPr/>
        </p:nvSpPr>
        <p:spPr>
          <a:xfrm>
            <a:off x="1939918" y="4343254"/>
            <a:ext cx="186781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Message</a:t>
            </a:r>
            <a:r>
              <a:rPr kumimoji="0" lang="en-US" sz="1200" b="0" i="0" u="none" strike="noStrike" kern="0" cap="none" spc="0" normalizeH="0" noProof="0" dirty="0" smtClean="0">
                <a:ln>
                  <a:noFill/>
                </a:ln>
                <a:solidFill>
                  <a:prstClr val="black"/>
                </a:solidFill>
                <a:effectLst/>
                <a:uLnTx/>
                <a:uFillTx/>
              </a:rPr>
              <a:t> meeting w/ SMEs</a:t>
            </a:r>
            <a:endParaRPr kumimoji="0" lang="en-US" sz="1200" b="0" i="0" u="none" strike="noStrike" kern="0" cap="none" spc="0" normalizeH="0" baseline="0" noProof="0" dirty="0" smtClean="0">
              <a:ln>
                <a:noFill/>
              </a:ln>
              <a:solidFill>
                <a:prstClr val="black"/>
              </a:solidFill>
              <a:effectLst/>
              <a:uLnTx/>
              <a:uFillTx/>
            </a:endParaRPr>
          </a:p>
        </p:txBody>
      </p:sp>
      <p:pic>
        <p:nvPicPr>
          <p:cNvPr id="60" name="Picture 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7545" y="2661567"/>
            <a:ext cx="317430" cy="317430"/>
          </a:xfrm>
          <a:prstGeom prst="rect">
            <a:avLst/>
          </a:prstGeom>
        </p:spPr>
      </p:pic>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4322" y="4051013"/>
            <a:ext cx="317430" cy="317430"/>
          </a:xfrm>
          <a:prstGeom prst="rect">
            <a:avLst/>
          </a:prstGeom>
        </p:spPr>
      </p:pic>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12944" y="4742911"/>
            <a:ext cx="317430" cy="317430"/>
          </a:xfrm>
          <a:prstGeom prst="rect">
            <a:avLst/>
          </a:prstGeom>
        </p:spPr>
      </p:pic>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7545" y="5356761"/>
            <a:ext cx="317430" cy="317430"/>
          </a:xfrm>
          <a:prstGeom prst="rect">
            <a:avLst/>
          </a:prstGeom>
        </p:spPr>
      </p:pic>
      <p:pic>
        <p:nvPicPr>
          <p:cNvPr id="66" name="Picture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74006" y="4733449"/>
            <a:ext cx="317430" cy="317430"/>
          </a:xfrm>
          <a:prstGeom prst="rect">
            <a:avLst/>
          </a:prstGeom>
        </p:spPr>
      </p:pic>
      <p:pic>
        <p:nvPicPr>
          <p:cNvPr id="67" name="Picture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24071" y="5332956"/>
            <a:ext cx="317430" cy="317430"/>
          </a:xfrm>
          <a:prstGeom prst="rect">
            <a:avLst/>
          </a:prstGeom>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11788" y="2678729"/>
            <a:ext cx="317430" cy="317430"/>
          </a:xfrm>
          <a:prstGeom prst="rect">
            <a:avLst/>
          </a:prstGeom>
        </p:spPr>
      </p:pic>
      <p:pic>
        <p:nvPicPr>
          <p:cNvPr id="69" name="Picture 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24071" y="2707725"/>
            <a:ext cx="317430" cy="317430"/>
          </a:xfrm>
          <a:prstGeom prst="rect">
            <a:avLst/>
          </a:prstGeom>
        </p:spPr>
      </p:pic>
      <p:pic>
        <p:nvPicPr>
          <p:cNvPr id="70" name="Picture 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96599" y="2698157"/>
            <a:ext cx="317430" cy="317430"/>
          </a:xfrm>
          <a:prstGeom prst="rect">
            <a:avLst/>
          </a:prstGeom>
        </p:spPr>
      </p:pic>
      <p:pic>
        <p:nvPicPr>
          <p:cNvPr id="71" name="Picture 7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74006" y="3348986"/>
            <a:ext cx="317430" cy="317430"/>
          </a:xfrm>
          <a:prstGeom prst="rect">
            <a:avLst/>
          </a:prstGeom>
        </p:spPr>
      </p:pic>
      <p:pic>
        <p:nvPicPr>
          <p:cNvPr id="72" name="Picture 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92436" y="4028207"/>
            <a:ext cx="317430" cy="317430"/>
          </a:xfrm>
          <a:prstGeom prst="rect">
            <a:avLst/>
          </a:prstGeom>
        </p:spPr>
      </p:pic>
      <p:pic>
        <p:nvPicPr>
          <p:cNvPr id="74" name="Picture 73"/>
          <p:cNvPicPr>
            <a:picLocks noChangeAspect="1"/>
          </p:cNvPicPr>
          <p:nvPr/>
        </p:nvPicPr>
        <p:blipFill>
          <a:blip r:embed="rId6"/>
          <a:stretch>
            <a:fillRect/>
          </a:stretch>
        </p:blipFill>
        <p:spPr>
          <a:xfrm>
            <a:off x="8197510" y="4364803"/>
            <a:ext cx="231668" cy="213378"/>
          </a:xfrm>
          <a:prstGeom prst="rect">
            <a:avLst/>
          </a:prstGeom>
        </p:spPr>
      </p:pic>
      <p:pic>
        <p:nvPicPr>
          <p:cNvPr id="75" name="Picture 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81768" y="4702123"/>
            <a:ext cx="317430" cy="317430"/>
          </a:xfrm>
          <a:prstGeom prst="rect">
            <a:avLst/>
          </a:prstGeom>
        </p:spPr>
      </p:pic>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52213" y="3358281"/>
            <a:ext cx="317430" cy="317430"/>
          </a:xfrm>
          <a:prstGeom prst="rect">
            <a:avLst/>
          </a:prstGeom>
        </p:spPr>
      </p:pic>
      <p:pic>
        <p:nvPicPr>
          <p:cNvPr id="77"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65021" y="4060636"/>
            <a:ext cx="317430" cy="317430"/>
          </a:xfrm>
          <a:prstGeom prst="rect">
            <a:avLst/>
          </a:prstGeom>
        </p:spPr>
      </p:pic>
      <p:pic>
        <p:nvPicPr>
          <p:cNvPr id="78" name="Picture 7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82887" y="4652710"/>
            <a:ext cx="317430" cy="317430"/>
          </a:xfrm>
          <a:prstGeom prst="rect">
            <a:avLst/>
          </a:prstGeom>
        </p:spPr>
      </p:pic>
      <p:pic>
        <p:nvPicPr>
          <p:cNvPr id="79" name="Picture 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312921" y="3368695"/>
            <a:ext cx="317430" cy="317430"/>
          </a:xfrm>
          <a:prstGeom prst="rect">
            <a:avLst/>
          </a:prstGeom>
        </p:spPr>
      </p:pic>
    </p:spTree>
    <p:extLst>
      <p:ext uri="{BB962C8B-B14F-4D97-AF65-F5344CB8AC3E}">
        <p14:creationId xmlns:p14="http://schemas.microsoft.com/office/powerpoint/2010/main" val="2998120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106278" y="6090358"/>
            <a:ext cx="2743200" cy="365125"/>
          </a:xfrm>
        </p:spPr>
        <p:txBody>
          <a:bodyPr/>
          <a:lstStyle/>
          <a:p>
            <a:fld id="{01269076-0E24-6A49-9E99-48290E2F7D2E}" type="slidenum">
              <a:rPr lang="en-US" smtClean="0"/>
              <a:pPr/>
              <a:t>21</a:t>
            </a:fld>
            <a:endParaRPr lang="en-US"/>
          </a:p>
        </p:txBody>
      </p:sp>
      <p:sp>
        <p:nvSpPr>
          <p:cNvPr id="10" name="Isosceles Triangle 9"/>
          <p:cNvSpPr/>
          <p:nvPr/>
        </p:nvSpPr>
        <p:spPr>
          <a:xfrm rot="16200000">
            <a:off x="2254630" y="2969115"/>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3"/>
          <a:srcRect b="64499"/>
          <a:stretch/>
        </p:blipFill>
        <p:spPr>
          <a:xfrm>
            <a:off x="371607" y="2655894"/>
            <a:ext cx="3869736" cy="532314"/>
          </a:xfrm>
          <a:prstGeom prst="rect">
            <a:avLst/>
          </a:prstGeom>
        </p:spPr>
      </p:pic>
      <p:pic>
        <p:nvPicPr>
          <p:cNvPr id="3" name="Picture 2"/>
          <p:cNvPicPr>
            <a:picLocks noChangeAspect="1"/>
          </p:cNvPicPr>
          <p:nvPr/>
        </p:nvPicPr>
        <p:blipFill rotWithShape="1">
          <a:blip r:embed="rId4"/>
          <a:srcRect l="1742" r="2434" b="253"/>
          <a:stretch/>
        </p:blipFill>
        <p:spPr>
          <a:xfrm>
            <a:off x="5286102" y="796057"/>
            <a:ext cx="6291135" cy="5135351"/>
          </a:xfrm>
          <a:prstGeom prst="rect">
            <a:avLst/>
          </a:prstGeom>
        </p:spPr>
      </p:pic>
      <p:sp>
        <p:nvSpPr>
          <p:cNvPr id="2" name="Rectangle 1">
            <a:hlinkClick r:id="" action="ppaction://noaction"/>
          </p:cNvPr>
          <p:cNvSpPr/>
          <p:nvPr/>
        </p:nvSpPr>
        <p:spPr>
          <a:xfrm>
            <a:off x="5369668" y="1870434"/>
            <a:ext cx="815203" cy="4060974"/>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hlinkClick r:id="" action="ppaction://noaction"/>
          </p:cNvPr>
          <p:cNvSpPr/>
          <p:nvPr/>
        </p:nvSpPr>
        <p:spPr>
          <a:xfrm>
            <a:off x="6410528" y="1870434"/>
            <a:ext cx="862518" cy="4060974"/>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hlinkClick r:id="" action="ppaction://noaction"/>
          </p:cNvPr>
          <p:cNvSpPr/>
          <p:nvPr/>
        </p:nvSpPr>
        <p:spPr>
          <a:xfrm>
            <a:off x="7498703" y="1870434"/>
            <a:ext cx="802232" cy="2714017"/>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hlinkClick r:id="" action="ppaction://noaction"/>
          </p:cNvPr>
          <p:cNvSpPr/>
          <p:nvPr/>
        </p:nvSpPr>
        <p:spPr>
          <a:xfrm>
            <a:off x="8546048" y="1870434"/>
            <a:ext cx="802893" cy="33560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hlinkClick r:id="" action="ppaction://noaction"/>
          </p:cNvPr>
          <p:cNvSpPr/>
          <p:nvPr/>
        </p:nvSpPr>
        <p:spPr>
          <a:xfrm>
            <a:off x="9594054" y="1870434"/>
            <a:ext cx="802893" cy="33560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hlinkClick r:id="" action="ppaction://noaction"/>
          </p:cNvPr>
          <p:cNvSpPr/>
          <p:nvPr/>
        </p:nvSpPr>
        <p:spPr>
          <a:xfrm>
            <a:off x="10642060" y="1870434"/>
            <a:ext cx="802893" cy="3356043"/>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5404261" y="2706681"/>
            <a:ext cx="6051291" cy="2535012"/>
            <a:chOff x="5404261" y="3054153"/>
            <a:chExt cx="6051291" cy="2535012"/>
          </a:xfrm>
        </p:grpSpPr>
        <p:sp>
          <p:nvSpPr>
            <p:cNvPr id="16" name="Rectangle 15"/>
            <p:cNvSpPr/>
            <p:nvPr/>
          </p:nvSpPr>
          <p:spPr>
            <a:xfrm>
              <a:off x="5404261" y="3055991"/>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5419888" y="5033820"/>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465325" y="3078434"/>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6415976" y="3737205"/>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6415976" y="5037192"/>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462582" y="3076187"/>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7473600" y="3748214"/>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8520203" y="3076187"/>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8509189" y="3737204"/>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8509188" y="4398211"/>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8509184" y="5037193"/>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9555794" y="3054153"/>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9555793" y="3737198"/>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9566808" y="4409229"/>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10602399" y="3065170"/>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0602397" y="3737204"/>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10635444" y="5048208"/>
              <a:ext cx="820108" cy="540957"/>
            </a:xfrm>
            <a:prstGeom prst="rect">
              <a:avLst/>
            </a:prstGeom>
            <a:solidFill>
              <a:schemeClr val="bg1">
                <a:alpha val="8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p:cNvGrpSpPr/>
          <p:nvPr/>
        </p:nvGrpSpPr>
        <p:grpSpPr>
          <a:xfrm>
            <a:off x="1683228" y="3389727"/>
            <a:ext cx="1352315" cy="882260"/>
            <a:chOff x="7037590" y="1582415"/>
            <a:chExt cx="1603723" cy="1034168"/>
          </a:xfrm>
        </p:grpSpPr>
        <p:sp>
          <p:nvSpPr>
            <p:cNvPr id="34" name="Oval 33"/>
            <p:cNvSpPr/>
            <p:nvPr/>
          </p:nvSpPr>
          <p:spPr>
            <a:xfrm>
              <a:off x="7056638" y="2008728"/>
              <a:ext cx="182880" cy="182880"/>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35" name="Group 34"/>
            <p:cNvGrpSpPr/>
            <p:nvPr/>
          </p:nvGrpSpPr>
          <p:grpSpPr>
            <a:xfrm>
              <a:off x="7037590" y="1643945"/>
              <a:ext cx="216130" cy="197379"/>
              <a:chOff x="7315200" y="2837460"/>
              <a:chExt cx="650133" cy="548639"/>
            </a:xfrm>
          </p:grpSpPr>
          <p:cxnSp>
            <p:nvCxnSpPr>
              <p:cNvPr id="40" name="Straight Connector 39"/>
              <p:cNvCxnSpPr/>
              <p:nvPr/>
            </p:nvCxnSpPr>
            <p:spPr>
              <a:xfrm>
                <a:off x="7315200" y="3128225"/>
                <a:ext cx="266006" cy="197378"/>
              </a:xfrm>
              <a:prstGeom prst="line">
                <a:avLst/>
              </a:prstGeom>
              <a:noFill/>
              <a:ln w="57150" cap="flat" cmpd="sng" algn="ctr">
                <a:solidFill>
                  <a:srgbClr val="70AD47"/>
                </a:solidFill>
                <a:prstDash val="solid"/>
                <a:miter lim="800000"/>
              </a:ln>
              <a:effectLst/>
            </p:spPr>
          </p:cxnSp>
          <p:cxnSp>
            <p:nvCxnSpPr>
              <p:cNvPr id="41" name="Straight Connector 40"/>
              <p:cNvCxnSpPr/>
              <p:nvPr/>
            </p:nvCxnSpPr>
            <p:spPr>
              <a:xfrm flipV="1">
                <a:off x="7531194" y="2837460"/>
                <a:ext cx="434139" cy="548639"/>
              </a:xfrm>
              <a:prstGeom prst="line">
                <a:avLst/>
              </a:prstGeom>
              <a:noFill/>
              <a:ln w="57150" cap="flat" cmpd="sng" algn="ctr">
                <a:solidFill>
                  <a:srgbClr val="70AD47"/>
                </a:solidFill>
                <a:prstDash val="solid"/>
                <a:miter lim="800000"/>
              </a:ln>
              <a:effectLst/>
            </p:spPr>
          </p:cxnSp>
        </p:grpSp>
        <p:sp>
          <p:nvSpPr>
            <p:cNvPr id="36" name="TextBox 35"/>
            <p:cNvSpPr txBox="1"/>
            <p:nvPr/>
          </p:nvSpPr>
          <p:spPr>
            <a:xfrm>
              <a:off x="7298055" y="1582415"/>
              <a:ext cx="1031568" cy="32469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Completed</a:t>
              </a:r>
            </a:p>
          </p:txBody>
        </p:sp>
        <p:sp>
          <p:nvSpPr>
            <p:cNvPr id="37" name="TextBox 36"/>
            <p:cNvSpPr txBox="1"/>
            <p:nvPr/>
          </p:nvSpPr>
          <p:spPr>
            <a:xfrm>
              <a:off x="7298055" y="1918056"/>
              <a:ext cx="1034837" cy="32469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In Progress</a:t>
              </a:r>
            </a:p>
          </p:txBody>
        </p:sp>
        <p:sp>
          <p:nvSpPr>
            <p:cNvPr id="38" name="Isosceles Triangle 37"/>
            <p:cNvSpPr/>
            <p:nvPr/>
          </p:nvSpPr>
          <p:spPr>
            <a:xfrm>
              <a:off x="7056638" y="2347102"/>
              <a:ext cx="229141" cy="202954"/>
            </a:xfrm>
            <a:prstGeom prst="triangle">
              <a:avLst/>
            </a:prstGeom>
            <a:solidFill>
              <a:srgbClr val="7030A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39" name="TextBox 38"/>
            <p:cNvSpPr txBox="1"/>
            <p:nvPr/>
          </p:nvSpPr>
          <p:spPr>
            <a:xfrm>
              <a:off x="7298055" y="2291890"/>
              <a:ext cx="1343258" cy="32469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Not Yet Started</a:t>
              </a:r>
            </a:p>
          </p:txBody>
        </p:sp>
      </p:grpSp>
      <p:sp>
        <p:nvSpPr>
          <p:cNvPr id="6" name="Rectangle 5"/>
          <p:cNvSpPr/>
          <p:nvPr/>
        </p:nvSpPr>
        <p:spPr>
          <a:xfrm>
            <a:off x="5299354" y="6003428"/>
            <a:ext cx="6123151" cy="369332"/>
          </a:xfrm>
          <a:prstGeom prst="rect">
            <a:avLst/>
          </a:prstGeom>
        </p:spPr>
        <p:txBody>
          <a:bodyPr wrap="none">
            <a:spAutoFit/>
          </a:bodyPr>
          <a:lstStyle/>
          <a:p>
            <a:r>
              <a:rPr lang="en-US" dirty="0">
                <a:hlinkClick r:id="rId5"/>
              </a:rPr>
              <a:t>http://</a:t>
            </a:r>
            <a:r>
              <a:rPr lang="en-US" dirty="0" smtClean="0">
                <a:hlinkClick r:id="rId5"/>
              </a:rPr>
              <a:t>esr.ucsd.edu/projects/kuali-research/process/index.html</a:t>
            </a:r>
            <a:r>
              <a:rPr lang="en-US" dirty="0" smtClean="0"/>
              <a:t> </a:t>
            </a:r>
            <a:endParaRPr lang="en-US" dirty="0"/>
          </a:p>
        </p:txBody>
      </p:sp>
      <p:grpSp>
        <p:nvGrpSpPr>
          <p:cNvPr id="50" name="Group 49"/>
          <p:cNvGrpSpPr/>
          <p:nvPr/>
        </p:nvGrpSpPr>
        <p:grpSpPr>
          <a:xfrm>
            <a:off x="6047971" y="3676066"/>
            <a:ext cx="1288568" cy="868310"/>
            <a:chOff x="6047971" y="4023538"/>
            <a:chExt cx="1288568" cy="868310"/>
          </a:xfrm>
        </p:grpSpPr>
        <p:pic>
          <p:nvPicPr>
            <p:cNvPr id="46" name="Picture 45"/>
            <p:cNvPicPr>
              <a:picLocks noChangeAspect="1"/>
            </p:cNvPicPr>
            <p:nvPr/>
          </p:nvPicPr>
          <p:blipFill>
            <a:blip r:embed="rId6"/>
            <a:stretch>
              <a:fillRect/>
            </a:stretch>
          </p:blipFill>
          <p:spPr>
            <a:xfrm>
              <a:off x="6047971" y="4023538"/>
              <a:ext cx="231668" cy="213378"/>
            </a:xfrm>
            <a:prstGeom prst="rect">
              <a:avLst/>
            </a:prstGeom>
          </p:spPr>
        </p:pic>
        <p:pic>
          <p:nvPicPr>
            <p:cNvPr id="47" name="Picture 46"/>
            <p:cNvPicPr>
              <a:picLocks noChangeAspect="1"/>
            </p:cNvPicPr>
            <p:nvPr/>
          </p:nvPicPr>
          <p:blipFill>
            <a:blip r:embed="rId6"/>
            <a:stretch>
              <a:fillRect/>
            </a:stretch>
          </p:blipFill>
          <p:spPr>
            <a:xfrm>
              <a:off x="7104871" y="4678470"/>
              <a:ext cx="231668" cy="213378"/>
            </a:xfrm>
            <a:prstGeom prst="rect">
              <a:avLst/>
            </a:prstGeom>
          </p:spPr>
        </p:pic>
      </p:grpSp>
      <p:grpSp>
        <p:nvGrpSpPr>
          <p:cNvPr id="51" name="Group 50"/>
          <p:cNvGrpSpPr/>
          <p:nvPr/>
        </p:nvGrpSpPr>
        <p:grpSpPr>
          <a:xfrm>
            <a:off x="941832" y="4747967"/>
            <a:ext cx="4298277" cy="1479048"/>
            <a:chOff x="941832" y="4747967"/>
            <a:chExt cx="4298277" cy="1479048"/>
          </a:xfrm>
        </p:grpSpPr>
        <p:sp>
          <p:nvSpPr>
            <p:cNvPr id="52" name="TextBox 51"/>
            <p:cNvSpPr txBox="1"/>
            <p:nvPr/>
          </p:nvSpPr>
          <p:spPr>
            <a:xfrm>
              <a:off x="941832" y="4747967"/>
              <a:ext cx="2715768" cy="923330"/>
            </a:xfrm>
            <a:prstGeom prst="rect">
              <a:avLst/>
            </a:prstGeom>
            <a:solidFill>
              <a:schemeClr val="bg1">
                <a:lumMod val="95000"/>
              </a:schemeClr>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solidFill>
                    <a:schemeClr val="tx1">
                      <a:lumMod val="50000"/>
                    </a:schemeClr>
                  </a:solidFill>
                </a:rPr>
                <a:t>Visit the Business Process Webpage for updates and to see who is involved</a:t>
              </a:r>
              <a:endParaRPr lang="en-US" dirty="0">
                <a:solidFill>
                  <a:schemeClr val="tx1">
                    <a:lumMod val="50000"/>
                  </a:schemeClr>
                </a:solidFill>
              </a:endParaRPr>
            </a:p>
          </p:txBody>
        </p:sp>
        <p:cxnSp>
          <p:nvCxnSpPr>
            <p:cNvPr id="53" name="Elbow Connector 52"/>
            <p:cNvCxnSpPr>
              <a:stCxn id="52" idx="2"/>
            </p:cNvCxnSpPr>
            <p:nvPr/>
          </p:nvCxnSpPr>
          <p:spPr>
            <a:xfrm rot="16200000" flipH="1">
              <a:off x="3492053" y="4478960"/>
              <a:ext cx="555719" cy="2940392"/>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45911" y="4299625"/>
            <a:ext cx="317430" cy="317430"/>
          </a:xfrm>
          <a:prstGeom prst="rect">
            <a:avLst/>
          </a:prstGeom>
        </p:spPr>
      </p:pic>
      <p:sp>
        <p:nvSpPr>
          <p:cNvPr id="60" name="TextBox 59"/>
          <p:cNvSpPr txBox="1"/>
          <p:nvPr/>
        </p:nvSpPr>
        <p:spPr>
          <a:xfrm>
            <a:off x="1939918" y="4343254"/>
            <a:ext cx="186781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Message</a:t>
            </a:r>
            <a:r>
              <a:rPr kumimoji="0" lang="en-US" sz="1200" b="0" i="0" u="none" strike="noStrike" kern="0" cap="none" spc="0" normalizeH="0" noProof="0" dirty="0" smtClean="0">
                <a:ln>
                  <a:noFill/>
                </a:ln>
                <a:solidFill>
                  <a:prstClr val="black"/>
                </a:solidFill>
                <a:effectLst/>
                <a:uLnTx/>
                <a:uFillTx/>
              </a:rPr>
              <a:t> meeting w/ SMEs</a:t>
            </a:r>
            <a:endParaRPr kumimoji="0" lang="en-US" sz="1200" b="0" i="0" u="none" strike="noStrike" kern="0" cap="none" spc="0" normalizeH="0" baseline="0" noProof="0" dirty="0" smtClean="0">
              <a:ln>
                <a:noFill/>
              </a:ln>
              <a:solidFill>
                <a:prstClr val="black"/>
              </a:solidFill>
              <a:effectLst/>
              <a:uLnTx/>
              <a:uFillTx/>
            </a:endParaRPr>
          </a:p>
        </p:txBody>
      </p:sp>
      <p:pic>
        <p:nvPicPr>
          <p:cNvPr id="55" name="Picture 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64826" y="3389740"/>
            <a:ext cx="317430" cy="317430"/>
          </a:xfrm>
          <a:prstGeom prst="rect">
            <a:avLst/>
          </a:prstGeom>
        </p:spPr>
      </p:pic>
      <p:pic>
        <p:nvPicPr>
          <p:cNvPr id="56" name="Picture 55"/>
          <p:cNvPicPr>
            <a:picLocks noChangeAspect="1"/>
          </p:cNvPicPr>
          <p:nvPr/>
        </p:nvPicPr>
        <p:blipFill>
          <a:blip r:embed="rId6"/>
          <a:stretch>
            <a:fillRect/>
          </a:stretch>
        </p:blipFill>
        <p:spPr>
          <a:xfrm>
            <a:off x="6042994" y="5647351"/>
            <a:ext cx="231668" cy="213378"/>
          </a:xfrm>
          <a:prstGeom prst="rect">
            <a:avLst/>
          </a:prstGeom>
        </p:spPr>
      </p:pic>
      <p:pic>
        <p:nvPicPr>
          <p:cNvPr id="57" name="Picture 56"/>
          <p:cNvPicPr>
            <a:picLocks noChangeAspect="1"/>
          </p:cNvPicPr>
          <p:nvPr/>
        </p:nvPicPr>
        <p:blipFill>
          <a:blip r:embed="rId6"/>
          <a:stretch>
            <a:fillRect/>
          </a:stretch>
        </p:blipFill>
        <p:spPr>
          <a:xfrm>
            <a:off x="7120250" y="5648716"/>
            <a:ext cx="231668" cy="213378"/>
          </a:xfrm>
          <a:prstGeom prst="rect">
            <a:avLst/>
          </a:prstGeom>
        </p:spPr>
      </p:pic>
      <p:pic>
        <p:nvPicPr>
          <p:cNvPr id="58" name="Picture 57"/>
          <p:cNvPicPr>
            <a:picLocks noChangeAspect="1"/>
          </p:cNvPicPr>
          <p:nvPr/>
        </p:nvPicPr>
        <p:blipFill>
          <a:blip r:embed="rId6"/>
          <a:stretch>
            <a:fillRect/>
          </a:stretch>
        </p:blipFill>
        <p:spPr>
          <a:xfrm>
            <a:off x="8182554" y="4333862"/>
            <a:ext cx="231668" cy="213378"/>
          </a:xfrm>
          <a:prstGeom prst="rect">
            <a:avLst/>
          </a:prstGeom>
        </p:spPr>
      </p:pic>
      <p:pic>
        <p:nvPicPr>
          <p:cNvPr id="61" name="Picture 60"/>
          <p:cNvPicPr>
            <a:picLocks noChangeAspect="1"/>
          </p:cNvPicPr>
          <p:nvPr/>
        </p:nvPicPr>
        <p:blipFill>
          <a:blip r:embed="rId6"/>
          <a:stretch>
            <a:fillRect/>
          </a:stretch>
        </p:blipFill>
        <p:spPr>
          <a:xfrm>
            <a:off x="10246210" y="4996254"/>
            <a:ext cx="231668" cy="213378"/>
          </a:xfrm>
          <a:prstGeom prst="rect">
            <a:avLst/>
          </a:prstGeom>
        </p:spPr>
      </p:pic>
      <p:pic>
        <p:nvPicPr>
          <p:cNvPr id="62" name="Picture 61"/>
          <p:cNvPicPr>
            <a:picLocks noChangeAspect="1"/>
          </p:cNvPicPr>
          <p:nvPr/>
        </p:nvPicPr>
        <p:blipFill>
          <a:blip r:embed="rId6"/>
          <a:stretch>
            <a:fillRect/>
          </a:stretch>
        </p:blipFill>
        <p:spPr>
          <a:xfrm>
            <a:off x="11310817" y="4321217"/>
            <a:ext cx="231668" cy="213378"/>
          </a:xfrm>
          <a:prstGeom prst="rect">
            <a:avLst/>
          </a:prstGeom>
        </p:spPr>
      </p:pic>
      <p:pic>
        <p:nvPicPr>
          <p:cNvPr id="63" name="Picture 6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45497" y="5324684"/>
            <a:ext cx="317430" cy="317430"/>
          </a:xfrm>
          <a:prstGeom prst="rect">
            <a:avLst/>
          </a:prstGeom>
        </p:spPr>
      </p:pic>
      <p:pic>
        <p:nvPicPr>
          <p:cNvPr id="64" name="Picture 6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90611" y="3963264"/>
            <a:ext cx="317430" cy="317430"/>
          </a:xfrm>
          <a:prstGeom prst="rect">
            <a:avLst/>
          </a:prstGeom>
        </p:spPr>
      </p:pic>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20250" y="5296590"/>
            <a:ext cx="317430" cy="317430"/>
          </a:xfrm>
          <a:prstGeom prst="rect">
            <a:avLst/>
          </a:prstGeom>
        </p:spPr>
      </p:pic>
      <p:pic>
        <p:nvPicPr>
          <p:cNvPr id="66" name="Picture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76508" y="3994988"/>
            <a:ext cx="317430" cy="317430"/>
          </a:xfrm>
          <a:prstGeom prst="rect">
            <a:avLst/>
          </a:prstGeom>
        </p:spPr>
      </p:pic>
      <p:pic>
        <p:nvPicPr>
          <p:cNvPr id="67" name="Picture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39310" y="4639396"/>
            <a:ext cx="317430" cy="317430"/>
          </a:xfrm>
          <a:prstGeom prst="rect">
            <a:avLst/>
          </a:prstGeom>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348835" y="4003787"/>
            <a:ext cx="317430" cy="317430"/>
          </a:xfrm>
          <a:prstGeom prst="rect">
            <a:avLst/>
          </a:prstGeom>
        </p:spPr>
      </p:pic>
    </p:spTree>
    <p:extLst>
      <p:ext uri="{BB962C8B-B14F-4D97-AF65-F5344CB8AC3E}">
        <p14:creationId xmlns:p14="http://schemas.microsoft.com/office/powerpoint/2010/main" val="1629381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cess Messaging</a:t>
            </a:r>
            <a:endParaRPr lang="en-US" dirty="0"/>
          </a:p>
        </p:txBody>
      </p:sp>
      <p:sp>
        <p:nvSpPr>
          <p:cNvPr id="4" name="Text Placeholder 3"/>
          <p:cNvSpPr>
            <a:spLocks noGrp="1"/>
          </p:cNvSpPr>
          <p:nvPr>
            <p:ph type="body" sz="quarter" idx="13"/>
          </p:nvPr>
        </p:nvSpPr>
        <p:spPr/>
        <p:txBody>
          <a:bodyPr>
            <a:normAutofit fontScale="92500"/>
          </a:bodyPr>
          <a:lstStyle/>
          <a:p>
            <a:r>
              <a:rPr lang="en-US" dirty="0" smtClean="0"/>
              <a:t>Articulating impacts of business process changes</a:t>
            </a:r>
            <a:endParaRPr lang="en-US" dirty="0"/>
          </a:p>
        </p:txBody>
      </p:sp>
      <p:sp>
        <p:nvSpPr>
          <p:cNvPr id="11" name="TextBox 10"/>
          <p:cNvSpPr txBox="1"/>
          <p:nvPr/>
        </p:nvSpPr>
        <p:spPr>
          <a:xfrm>
            <a:off x="3147650" y="4092831"/>
            <a:ext cx="2690856" cy="1323439"/>
          </a:xfrm>
          <a:prstGeom prst="rect">
            <a:avLst/>
          </a:prstGeom>
          <a:noFill/>
        </p:spPr>
        <p:txBody>
          <a:bodyPr wrap="square" rtlCol="0">
            <a:spAutoFit/>
          </a:bodyPr>
          <a:lstStyle/>
          <a:p>
            <a:r>
              <a:rPr lang="en-US" sz="1600" dirty="0" smtClean="0">
                <a:solidFill>
                  <a:srgbClr val="05BFD5"/>
                </a:solidFill>
              </a:rPr>
              <a:t>SMEs develop key messages regarding changes, impact, benefits and other items to consider for employees, managers and executives</a:t>
            </a:r>
            <a:endParaRPr lang="en-US" sz="1600" dirty="0">
              <a:solidFill>
                <a:srgbClr val="05BFD5"/>
              </a:solidFill>
            </a:endParaRPr>
          </a:p>
        </p:txBody>
      </p:sp>
      <p:sp>
        <p:nvSpPr>
          <p:cNvPr id="13" name="TextBox 12"/>
          <p:cNvSpPr txBox="1"/>
          <p:nvPr/>
        </p:nvSpPr>
        <p:spPr>
          <a:xfrm>
            <a:off x="165702" y="4019813"/>
            <a:ext cx="2559829" cy="1323439"/>
          </a:xfrm>
          <a:prstGeom prst="rect">
            <a:avLst/>
          </a:prstGeom>
          <a:noFill/>
        </p:spPr>
        <p:txBody>
          <a:bodyPr wrap="square" rtlCol="0">
            <a:spAutoFit/>
          </a:bodyPr>
          <a:lstStyle/>
          <a:p>
            <a:r>
              <a:rPr lang="en-US" sz="1600" dirty="0" smtClean="0">
                <a:solidFill>
                  <a:srgbClr val="05BFD5"/>
                </a:solidFill>
              </a:rPr>
              <a:t>Change Lead meets with group of SMEs who conducted business process review and conducts any additional follow up needed</a:t>
            </a:r>
            <a:endParaRPr lang="en-US" sz="1600" dirty="0">
              <a:solidFill>
                <a:srgbClr val="05BFD5"/>
              </a:solidFill>
            </a:endParaRPr>
          </a:p>
        </p:txBody>
      </p:sp>
      <p:sp>
        <p:nvSpPr>
          <p:cNvPr id="15" name="TextBox 14"/>
          <p:cNvSpPr txBox="1"/>
          <p:nvPr/>
        </p:nvSpPr>
        <p:spPr>
          <a:xfrm>
            <a:off x="6339788" y="4035985"/>
            <a:ext cx="2770984" cy="1077218"/>
          </a:xfrm>
          <a:prstGeom prst="rect">
            <a:avLst/>
          </a:prstGeom>
          <a:noFill/>
        </p:spPr>
        <p:txBody>
          <a:bodyPr wrap="square" rtlCol="0">
            <a:spAutoFit/>
          </a:bodyPr>
          <a:lstStyle/>
          <a:p>
            <a:r>
              <a:rPr lang="en-US" sz="1600" dirty="0" smtClean="0">
                <a:solidFill>
                  <a:srgbClr val="05BFD5"/>
                </a:solidFill>
              </a:rPr>
              <a:t>Project Governance reviews SME messages and also conduct additional organizational impact analysis</a:t>
            </a:r>
            <a:endParaRPr lang="en-US" sz="1600" dirty="0">
              <a:solidFill>
                <a:srgbClr val="05BFD5"/>
              </a:solidFill>
            </a:endParaRPr>
          </a:p>
        </p:txBody>
      </p:sp>
      <p:sp>
        <p:nvSpPr>
          <p:cNvPr id="20" name="TextBox 19"/>
          <p:cNvSpPr txBox="1"/>
          <p:nvPr/>
        </p:nvSpPr>
        <p:spPr>
          <a:xfrm>
            <a:off x="9421016" y="4093824"/>
            <a:ext cx="2770984" cy="584775"/>
          </a:xfrm>
          <a:prstGeom prst="rect">
            <a:avLst/>
          </a:prstGeom>
          <a:noFill/>
        </p:spPr>
        <p:txBody>
          <a:bodyPr wrap="square" rtlCol="0">
            <a:spAutoFit/>
          </a:bodyPr>
          <a:lstStyle/>
          <a:p>
            <a:r>
              <a:rPr lang="en-US" sz="1600" dirty="0" smtClean="0">
                <a:solidFill>
                  <a:srgbClr val="05BFD5"/>
                </a:solidFill>
              </a:rPr>
              <a:t>Change Network distributes messaging accordingly</a:t>
            </a:r>
            <a:endParaRPr lang="en-US" sz="1600" dirty="0">
              <a:solidFill>
                <a:srgbClr val="05BFD5"/>
              </a:solidFill>
            </a:endParaRPr>
          </a:p>
        </p:txBody>
      </p:sp>
      <p:sp>
        <p:nvSpPr>
          <p:cNvPr id="49" name="Rectangle 48"/>
          <p:cNvSpPr/>
          <p:nvPr/>
        </p:nvSpPr>
        <p:spPr>
          <a:xfrm>
            <a:off x="202084" y="1885153"/>
            <a:ext cx="425116" cy="369332"/>
          </a:xfrm>
          <a:prstGeom prst="rect">
            <a:avLst/>
          </a:prstGeom>
        </p:spPr>
        <p:txBody>
          <a:bodyPr wrap="none">
            <a:spAutoFit/>
          </a:bodyPr>
          <a:lstStyle/>
          <a:p>
            <a:r>
              <a:rPr lang="en-US" dirty="0">
                <a:solidFill>
                  <a:srgbClr val="05BFD5"/>
                </a:solidFill>
              </a:rPr>
              <a:t>1) </a:t>
            </a:r>
          </a:p>
        </p:txBody>
      </p:sp>
      <p:sp>
        <p:nvSpPr>
          <p:cNvPr id="50" name="Rectangle 49"/>
          <p:cNvSpPr/>
          <p:nvPr/>
        </p:nvSpPr>
        <p:spPr>
          <a:xfrm>
            <a:off x="3038021" y="1919989"/>
            <a:ext cx="425116" cy="369332"/>
          </a:xfrm>
          <a:prstGeom prst="rect">
            <a:avLst/>
          </a:prstGeom>
        </p:spPr>
        <p:txBody>
          <a:bodyPr wrap="none">
            <a:spAutoFit/>
          </a:bodyPr>
          <a:lstStyle/>
          <a:p>
            <a:r>
              <a:rPr lang="en-US" dirty="0" smtClean="0">
                <a:solidFill>
                  <a:srgbClr val="05BFD5"/>
                </a:solidFill>
              </a:rPr>
              <a:t>2) </a:t>
            </a:r>
            <a:endParaRPr lang="en-US" dirty="0">
              <a:solidFill>
                <a:srgbClr val="05BFD5"/>
              </a:solidFill>
            </a:endParaRPr>
          </a:p>
        </p:txBody>
      </p:sp>
      <p:sp>
        <p:nvSpPr>
          <p:cNvPr id="51" name="Rectangle 50"/>
          <p:cNvSpPr/>
          <p:nvPr/>
        </p:nvSpPr>
        <p:spPr>
          <a:xfrm>
            <a:off x="6310006" y="1924487"/>
            <a:ext cx="425116" cy="369332"/>
          </a:xfrm>
          <a:prstGeom prst="rect">
            <a:avLst/>
          </a:prstGeom>
        </p:spPr>
        <p:txBody>
          <a:bodyPr wrap="none">
            <a:spAutoFit/>
          </a:bodyPr>
          <a:lstStyle/>
          <a:p>
            <a:r>
              <a:rPr lang="en-US" dirty="0" smtClean="0">
                <a:solidFill>
                  <a:srgbClr val="05BFD5"/>
                </a:solidFill>
              </a:rPr>
              <a:t>3) </a:t>
            </a:r>
            <a:endParaRPr lang="en-US" dirty="0">
              <a:solidFill>
                <a:srgbClr val="05BFD5"/>
              </a:solidFill>
            </a:endParaRPr>
          </a:p>
        </p:txBody>
      </p:sp>
      <p:sp>
        <p:nvSpPr>
          <p:cNvPr id="52" name="Rectangle 51"/>
          <p:cNvSpPr/>
          <p:nvPr/>
        </p:nvSpPr>
        <p:spPr>
          <a:xfrm>
            <a:off x="9374609" y="1897963"/>
            <a:ext cx="425116" cy="369332"/>
          </a:xfrm>
          <a:prstGeom prst="rect">
            <a:avLst/>
          </a:prstGeom>
        </p:spPr>
        <p:txBody>
          <a:bodyPr wrap="none">
            <a:spAutoFit/>
          </a:bodyPr>
          <a:lstStyle/>
          <a:p>
            <a:r>
              <a:rPr lang="en-US" dirty="0" smtClean="0">
                <a:solidFill>
                  <a:srgbClr val="05BFD5"/>
                </a:solidFill>
              </a:rPr>
              <a:t>4) </a:t>
            </a:r>
            <a:endParaRPr lang="en-US" dirty="0">
              <a:solidFill>
                <a:srgbClr val="05BFD5"/>
              </a:solidFill>
            </a:endParaRPr>
          </a:p>
        </p:txBody>
      </p:sp>
      <p:sp>
        <p:nvSpPr>
          <p:cNvPr id="53" name="Rounded Rectangle 52"/>
          <p:cNvSpPr/>
          <p:nvPr/>
        </p:nvSpPr>
        <p:spPr>
          <a:xfrm>
            <a:off x="78372" y="1793966"/>
            <a:ext cx="2647159"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Rounded Rectangle 53"/>
          <p:cNvSpPr/>
          <p:nvPr/>
        </p:nvSpPr>
        <p:spPr>
          <a:xfrm>
            <a:off x="2907089" y="1780951"/>
            <a:ext cx="3094376"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2" name="Right Arrow 21"/>
          <p:cNvSpPr/>
          <p:nvPr/>
        </p:nvSpPr>
        <p:spPr>
          <a:xfrm>
            <a:off x="2521867" y="374651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5" name="Rounded Rectangle 54"/>
          <p:cNvSpPr/>
          <p:nvPr/>
        </p:nvSpPr>
        <p:spPr>
          <a:xfrm>
            <a:off x="6163043" y="1772512"/>
            <a:ext cx="2999983"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7" name="Rounded Rectangle 56"/>
          <p:cNvSpPr/>
          <p:nvPr/>
        </p:nvSpPr>
        <p:spPr>
          <a:xfrm>
            <a:off x="9284298" y="1719988"/>
            <a:ext cx="2777074"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Right Arrow 20"/>
          <p:cNvSpPr/>
          <p:nvPr/>
        </p:nvSpPr>
        <p:spPr>
          <a:xfrm>
            <a:off x="8939117" y="369377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190" y="1897963"/>
            <a:ext cx="2249435" cy="2249435"/>
          </a:xfrm>
          <a:prstGeom prst="rect">
            <a:avLst/>
          </a:prstGeom>
        </p:spPr>
      </p:pic>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29390" y="2205778"/>
            <a:ext cx="1927494" cy="1927494"/>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5173" y="2113936"/>
            <a:ext cx="2144654" cy="2144654"/>
          </a:xfrm>
          <a:prstGeom prst="rect">
            <a:avLst/>
          </a:prstGeom>
        </p:spPr>
      </p:pic>
      <p:sp>
        <p:nvSpPr>
          <p:cNvPr id="43" name="Right Arrow 42"/>
          <p:cNvSpPr/>
          <p:nvPr/>
        </p:nvSpPr>
        <p:spPr>
          <a:xfrm>
            <a:off x="5874816" y="3734274"/>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5128" y="1723618"/>
            <a:ext cx="1299062" cy="1299062"/>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18333" y="2898130"/>
            <a:ext cx="1132536" cy="1132536"/>
          </a:xfrm>
          <a:prstGeom prst="rect">
            <a:avLst/>
          </a:prstGeom>
        </p:spPr>
      </p:pic>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61119" y="2914817"/>
            <a:ext cx="1132536" cy="1132536"/>
          </a:xfrm>
          <a:prstGeom prst="rect">
            <a:avLst/>
          </a:prstGeom>
        </p:spPr>
      </p:pic>
    </p:spTree>
    <p:extLst>
      <p:ext uri="{BB962C8B-B14F-4D97-AF65-F5344CB8AC3E}">
        <p14:creationId xmlns:p14="http://schemas.microsoft.com/office/powerpoint/2010/main" val="19778546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78834452"/>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Developing and configuring the system and processe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23</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Configure &amp; Prototype</a:t>
            </a:r>
            <a:endParaRPr lang="en-US" dirty="0"/>
          </a:p>
        </p:txBody>
      </p:sp>
      <p:sp>
        <p:nvSpPr>
          <p:cNvPr id="6" name="TextBox 5"/>
          <p:cNvSpPr txBox="1"/>
          <p:nvPr/>
        </p:nvSpPr>
        <p:spPr>
          <a:xfrm>
            <a:off x="3920247" y="5510905"/>
            <a:ext cx="1411213" cy="253916"/>
          </a:xfrm>
          <a:prstGeom prst="rect">
            <a:avLst/>
          </a:prstGeom>
          <a:noFill/>
        </p:spPr>
        <p:txBody>
          <a:bodyPr wrap="square" rtlCol="0">
            <a:spAutoFit/>
          </a:bodyPr>
          <a:lstStyle/>
          <a:p>
            <a:pPr algn="ctr"/>
            <a:r>
              <a:rPr lang="en-US" sz="1050" dirty="0" smtClean="0">
                <a:solidFill>
                  <a:schemeClr val="accent2"/>
                </a:solidFill>
              </a:rPr>
              <a:t>Aug 2018 – May 2019</a:t>
            </a:r>
            <a:endParaRPr lang="en-US" sz="1050" dirty="0">
              <a:solidFill>
                <a:schemeClr val="accent2"/>
              </a:solidFill>
            </a:endParaRPr>
          </a:p>
        </p:txBody>
      </p:sp>
    </p:spTree>
    <p:extLst>
      <p:ext uri="{BB962C8B-B14F-4D97-AF65-F5344CB8AC3E}">
        <p14:creationId xmlns:p14="http://schemas.microsoft.com/office/powerpoint/2010/main" val="9285870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figuration &amp; Prototype</a:t>
            </a:r>
            <a:endParaRPr lang="en-US" dirty="0"/>
          </a:p>
        </p:txBody>
      </p:sp>
      <p:sp>
        <p:nvSpPr>
          <p:cNvPr id="6" name="Text Placeholder 5"/>
          <p:cNvSpPr>
            <a:spLocks noGrp="1"/>
          </p:cNvSpPr>
          <p:nvPr>
            <p:ph type="body" sz="quarter" idx="13"/>
          </p:nvPr>
        </p:nvSpPr>
        <p:spPr/>
        <p:txBody>
          <a:bodyPr/>
          <a:lstStyle/>
          <a:p>
            <a:endParaRPr lang="en-US" dirty="0"/>
          </a:p>
        </p:txBody>
      </p:sp>
      <p:sp>
        <p:nvSpPr>
          <p:cNvPr id="9" name="TextBox 8"/>
          <p:cNvSpPr txBox="1"/>
          <p:nvPr/>
        </p:nvSpPr>
        <p:spPr>
          <a:xfrm>
            <a:off x="467496" y="3745611"/>
            <a:ext cx="2432774" cy="738664"/>
          </a:xfrm>
          <a:prstGeom prst="rect">
            <a:avLst/>
          </a:prstGeom>
          <a:noFill/>
        </p:spPr>
        <p:txBody>
          <a:bodyPr wrap="square" rtlCol="0">
            <a:spAutoFit/>
          </a:bodyPr>
          <a:lstStyle/>
          <a:p>
            <a:r>
              <a:rPr lang="en-US" sz="1400" dirty="0" smtClean="0">
                <a:solidFill>
                  <a:schemeClr val="tx2">
                    <a:lumMod val="50000"/>
                  </a:schemeClr>
                </a:solidFill>
              </a:rPr>
              <a:t>Proposed Future State Business Process is passed on for configuration</a:t>
            </a:r>
            <a:endParaRPr lang="en-US" sz="1400" dirty="0">
              <a:solidFill>
                <a:schemeClr val="tx2">
                  <a:lumMod val="50000"/>
                </a:schemeClr>
              </a:soli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15337" y="2221609"/>
            <a:ext cx="1524002" cy="1524002"/>
          </a:xfrm>
          <a:prstGeom prst="rect">
            <a:avLst/>
          </a:prstGeom>
        </p:spPr>
      </p:pic>
      <p:sp>
        <p:nvSpPr>
          <p:cNvPr id="11" name="TextBox 10"/>
          <p:cNvSpPr txBox="1"/>
          <p:nvPr/>
        </p:nvSpPr>
        <p:spPr>
          <a:xfrm>
            <a:off x="3483513" y="1743135"/>
            <a:ext cx="3005955" cy="954107"/>
          </a:xfrm>
          <a:prstGeom prst="rect">
            <a:avLst/>
          </a:prstGeom>
          <a:noFill/>
        </p:spPr>
        <p:txBody>
          <a:bodyPr wrap="square" rtlCol="0">
            <a:spAutoFit/>
          </a:bodyPr>
          <a:lstStyle/>
          <a:p>
            <a:r>
              <a:rPr lang="en-US" sz="1400" dirty="0" smtClean="0">
                <a:solidFill>
                  <a:schemeClr val="tx2">
                    <a:lumMod val="50000"/>
                  </a:schemeClr>
                </a:solidFill>
              </a:rPr>
              <a:t>Configuration Lead works with the Solutions Architect, Testing Lead and Vendor to configure the system and develop testing requirements</a:t>
            </a:r>
            <a:endParaRPr lang="en-US" sz="1400" dirty="0">
              <a:solidFill>
                <a:schemeClr val="tx2">
                  <a:lumMod val="50000"/>
                </a:schemeClr>
              </a:solidFill>
            </a:endParaRPr>
          </a:p>
        </p:txBody>
      </p:sp>
      <p:sp>
        <p:nvSpPr>
          <p:cNvPr id="15" name="TextBox 14"/>
          <p:cNvSpPr txBox="1"/>
          <p:nvPr/>
        </p:nvSpPr>
        <p:spPr>
          <a:xfrm>
            <a:off x="6814146" y="3745611"/>
            <a:ext cx="2106662" cy="954107"/>
          </a:xfrm>
          <a:prstGeom prst="rect">
            <a:avLst/>
          </a:prstGeom>
          <a:noFill/>
        </p:spPr>
        <p:txBody>
          <a:bodyPr wrap="square" rtlCol="0">
            <a:spAutoFit/>
          </a:bodyPr>
          <a:lstStyle/>
          <a:p>
            <a:r>
              <a:rPr lang="en-US" sz="1400" dirty="0" smtClean="0">
                <a:solidFill>
                  <a:schemeClr val="tx2">
                    <a:lumMod val="50000"/>
                  </a:schemeClr>
                </a:solidFill>
              </a:rPr>
              <a:t>Configuration is tested internally by selected project team members and SMEs</a:t>
            </a:r>
            <a:endParaRPr lang="en-US" sz="1400" dirty="0">
              <a:solidFill>
                <a:schemeClr val="tx2">
                  <a:lumMod val="50000"/>
                </a:schemeClr>
              </a:solidFil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50622" y="2697242"/>
            <a:ext cx="1844135" cy="1844135"/>
          </a:xfrm>
          <a:prstGeom prst="rect">
            <a:avLst/>
          </a:prstGeom>
        </p:spPr>
      </p:pic>
      <p:sp>
        <p:nvSpPr>
          <p:cNvPr id="2" name="Right Arrow 1"/>
          <p:cNvSpPr/>
          <p:nvPr/>
        </p:nvSpPr>
        <p:spPr>
          <a:xfrm>
            <a:off x="2569029" y="3104511"/>
            <a:ext cx="635725" cy="3396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59919" y="2220188"/>
            <a:ext cx="1008076" cy="1008076"/>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92307" y="2953082"/>
            <a:ext cx="982126" cy="982126"/>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64762" y="3758151"/>
            <a:ext cx="964942" cy="964942"/>
          </a:xfrm>
          <a:prstGeom prst="rect">
            <a:avLst/>
          </a:prstGeom>
        </p:spPr>
      </p:pic>
      <p:sp>
        <p:nvSpPr>
          <p:cNvPr id="23" name="TextBox 22"/>
          <p:cNvSpPr txBox="1"/>
          <p:nvPr/>
        </p:nvSpPr>
        <p:spPr>
          <a:xfrm>
            <a:off x="9387528" y="1668231"/>
            <a:ext cx="3005955" cy="523220"/>
          </a:xfrm>
          <a:prstGeom prst="rect">
            <a:avLst/>
          </a:prstGeom>
          <a:noFill/>
        </p:spPr>
        <p:txBody>
          <a:bodyPr wrap="square" rtlCol="0">
            <a:spAutoFit/>
          </a:bodyPr>
          <a:lstStyle/>
          <a:p>
            <a:r>
              <a:rPr lang="en-US" sz="1400" dirty="0" smtClean="0">
                <a:solidFill>
                  <a:schemeClr val="tx2">
                    <a:lumMod val="50000"/>
                  </a:schemeClr>
                </a:solidFill>
              </a:rPr>
              <a:t>SMEs are engaged in configuration feedback sessions </a:t>
            </a:r>
            <a:endParaRPr lang="en-US" sz="1400" dirty="0">
              <a:solidFill>
                <a:schemeClr val="tx2">
                  <a:lumMod val="50000"/>
                </a:schemeClr>
              </a:solidFill>
            </a:endParaRPr>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1820" y="1639607"/>
            <a:ext cx="2118544" cy="2118544"/>
          </a:xfrm>
          <a:prstGeom prst="rect">
            <a:avLst/>
          </a:prstGeom>
        </p:spPr>
      </p:pic>
      <p:sp>
        <p:nvSpPr>
          <p:cNvPr id="5" name="Curved Up Arrow 4"/>
          <p:cNvSpPr/>
          <p:nvPr/>
        </p:nvSpPr>
        <p:spPr>
          <a:xfrm>
            <a:off x="5757854" y="3758151"/>
            <a:ext cx="1056292" cy="407269"/>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Curved Up Arrow 23"/>
          <p:cNvSpPr/>
          <p:nvPr/>
        </p:nvSpPr>
        <p:spPr>
          <a:xfrm rot="10467914">
            <a:off x="5645289" y="2906895"/>
            <a:ext cx="1150673" cy="45052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Curved Up Arrow 26"/>
          <p:cNvSpPr/>
          <p:nvPr/>
        </p:nvSpPr>
        <p:spPr>
          <a:xfrm>
            <a:off x="8927001" y="3730504"/>
            <a:ext cx="1056292" cy="407269"/>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Curved Up Arrow 27"/>
          <p:cNvSpPr/>
          <p:nvPr/>
        </p:nvSpPr>
        <p:spPr>
          <a:xfrm rot="10467914">
            <a:off x="8814436" y="2879248"/>
            <a:ext cx="1150673" cy="45052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p:cNvSpPr txBox="1"/>
          <p:nvPr/>
        </p:nvSpPr>
        <p:spPr>
          <a:xfrm>
            <a:off x="371820" y="5121626"/>
            <a:ext cx="9980579" cy="646331"/>
          </a:xfrm>
          <a:prstGeom prst="rect">
            <a:avLst/>
          </a:prstGeom>
          <a:noFill/>
        </p:spPr>
        <p:txBody>
          <a:bodyPr wrap="square" rtlCol="0">
            <a:spAutoFit/>
          </a:bodyPr>
          <a:lstStyle/>
          <a:p>
            <a:r>
              <a:rPr lang="en-US" dirty="0" smtClean="0"/>
              <a:t>As the system becomes more configured there will be more opportunities for users and stakeholders to see the system via demos, open offices and forums.</a:t>
            </a:r>
            <a:endParaRPr lang="en-US" dirty="0"/>
          </a:p>
        </p:txBody>
      </p:sp>
    </p:spTree>
    <p:extLst>
      <p:ext uri="{BB962C8B-B14F-4D97-AF65-F5344CB8AC3E}">
        <p14:creationId xmlns:p14="http://schemas.microsoft.com/office/powerpoint/2010/main" val="409492257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464445580"/>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Iterative system testing cycles; Validating and testing the system and processe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25</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Validate</a:t>
            </a:r>
            <a:endParaRPr lang="en-US" dirty="0"/>
          </a:p>
        </p:txBody>
      </p:sp>
      <p:sp>
        <p:nvSpPr>
          <p:cNvPr id="6" name="TextBox 5"/>
          <p:cNvSpPr txBox="1"/>
          <p:nvPr/>
        </p:nvSpPr>
        <p:spPr>
          <a:xfrm>
            <a:off x="5352669" y="5510905"/>
            <a:ext cx="1176746" cy="253916"/>
          </a:xfrm>
          <a:prstGeom prst="rect">
            <a:avLst/>
          </a:prstGeom>
          <a:noFill/>
        </p:spPr>
        <p:txBody>
          <a:bodyPr wrap="square" rtlCol="0">
            <a:spAutoFit/>
          </a:bodyPr>
          <a:lstStyle/>
          <a:p>
            <a:pPr algn="ctr"/>
            <a:r>
              <a:rPr lang="en-US" sz="1050" dirty="0" smtClean="0">
                <a:solidFill>
                  <a:srgbClr val="2E75B6"/>
                </a:solidFill>
              </a:rPr>
              <a:t>May </a:t>
            </a:r>
            <a:r>
              <a:rPr lang="en-US" sz="1050" dirty="0">
                <a:solidFill>
                  <a:srgbClr val="2E75B6"/>
                </a:solidFill>
              </a:rPr>
              <a:t>– </a:t>
            </a:r>
            <a:r>
              <a:rPr lang="en-US" sz="1050" dirty="0" smtClean="0">
                <a:solidFill>
                  <a:srgbClr val="2E75B6"/>
                </a:solidFill>
              </a:rPr>
              <a:t>Nov </a:t>
            </a:r>
            <a:r>
              <a:rPr lang="en-US" sz="1050" dirty="0">
                <a:solidFill>
                  <a:srgbClr val="2E75B6"/>
                </a:solidFill>
              </a:rPr>
              <a:t>2019</a:t>
            </a:r>
          </a:p>
        </p:txBody>
      </p:sp>
    </p:spTree>
    <p:extLst>
      <p:ext uri="{BB962C8B-B14F-4D97-AF65-F5344CB8AC3E}">
        <p14:creationId xmlns:p14="http://schemas.microsoft.com/office/powerpoint/2010/main" val="41537735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alidate</a:t>
            </a:r>
            <a:endParaRPr lang="en-US" dirty="0"/>
          </a:p>
        </p:txBody>
      </p:sp>
      <p:sp>
        <p:nvSpPr>
          <p:cNvPr id="6" name="Text Placeholder 5"/>
          <p:cNvSpPr>
            <a:spLocks noGrp="1"/>
          </p:cNvSpPr>
          <p:nvPr>
            <p:ph type="body" sz="quarter" idx="13"/>
          </p:nvPr>
        </p:nvSpPr>
        <p:spPr/>
        <p:txBody>
          <a:bodyPr/>
          <a:lstStyle/>
          <a:p>
            <a:r>
              <a:rPr lang="en-US" dirty="0" smtClean="0"/>
              <a:t>Testing, Testing and More Testing</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67753" y="3114122"/>
            <a:ext cx="1524002" cy="152400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246" y="1883498"/>
            <a:ext cx="1524002" cy="1524002"/>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01222" y="2570219"/>
            <a:ext cx="1524002" cy="1524002"/>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719" y="4271754"/>
            <a:ext cx="1524002" cy="1524002"/>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0353" y="2369365"/>
            <a:ext cx="1480006" cy="1480006"/>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09061" y="2610319"/>
            <a:ext cx="1483902" cy="1483902"/>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70353" y="4127142"/>
            <a:ext cx="1513256" cy="1513256"/>
          </a:xfrm>
          <a:prstGeom prst="rect">
            <a:avLst/>
          </a:prstGeom>
        </p:spPr>
      </p:pic>
      <p:sp>
        <p:nvSpPr>
          <p:cNvPr id="2" name="Right Arrow 1"/>
          <p:cNvSpPr/>
          <p:nvPr/>
        </p:nvSpPr>
        <p:spPr>
          <a:xfrm>
            <a:off x="3093081" y="3926984"/>
            <a:ext cx="1026420"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p:cNvSpPr/>
          <p:nvPr/>
        </p:nvSpPr>
        <p:spPr>
          <a:xfrm>
            <a:off x="5920709" y="4238275"/>
            <a:ext cx="5804515"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Arrow 14"/>
          <p:cNvSpPr/>
          <p:nvPr/>
        </p:nvSpPr>
        <p:spPr>
          <a:xfrm rot="19882219">
            <a:off x="5762763" y="3432738"/>
            <a:ext cx="1497005"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ight Arrow 15"/>
          <p:cNvSpPr/>
          <p:nvPr/>
        </p:nvSpPr>
        <p:spPr>
          <a:xfrm>
            <a:off x="9046772" y="2933328"/>
            <a:ext cx="1026420" cy="50012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743269" y="5640398"/>
            <a:ext cx="2863022" cy="646331"/>
          </a:xfrm>
          <a:prstGeom prst="rect">
            <a:avLst/>
          </a:prstGeom>
          <a:noFill/>
        </p:spPr>
        <p:txBody>
          <a:bodyPr wrap="square" rtlCol="0">
            <a:spAutoFit/>
          </a:bodyPr>
          <a:lstStyle/>
          <a:p>
            <a:r>
              <a:rPr lang="en-US" dirty="0" smtClean="0"/>
              <a:t>Technical and User Acceptance Testing (UAT)</a:t>
            </a:r>
            <a:endParaRPr lang="en-US" dirty="0"/>
          </a:p>
        </p:txBody>
      </p:sp>
      <p:sp>
        <p:nvSpPr>
          <p:cNvPr id="17" name="TextBox 16"/>
          <p:cNvSpPr txBox="1"/>
          <p:nvPr/>
        </p:nvSpPr>
        <p:spPr>
          <a:xfrm>
            <a:off x="6999435" y="4733309"/>
            <a:ext cx="2863022" cy="646331"/>
          </a:xfrm>
          <a:prstGeom prst="rect">
            <a:avLst/>
          </a:prstGeom>
          <a:noFill/>
        </p:spPr>
        <p:txBody>
          <a:bodyPr wrap="square" rtlCol="0">
            <a:spAutoFit/>
          </a:bodyPr>
          <a:lstStyle/>
          <a:p>
            <a:r>
              <a:rPr lang="en-US" dirty="0" smtClean="0"/>
              <a:t>If test case “</a:t>
            </a:r>
            <a:r>
              <a:rPr lang="en-US" dirty="0" smtClean="0">
                <a:solidFill>
                  <a:srgbClr val="00B050"/>
                </a:solidFill>
              </a:rPr>
              <a:t>passes</a:t>
            </a:r>
            <a:r>
              <a:rPr lang="en-US" dirty="0" smtClean="0"/>
              <a:t>” then it is ready for production</a:t>
            </a:r>
            <a:endParaRPr lang="en-US" dirty="0"/>
          </a:p>
        </p:txBody>
      </p:sp>
      <p:sp>
        <p:nvSpPr>
          <p:cNvPr id="18" name="TextBox 17"/>
          <p:cNvSpPr txBox="1"/>
          <p:nvPr/>
        </p:nvSpPr>
        <p:spPr>
          <a:xfrm>
            <a:off x="6999435" y="1768023"/>
            <a:ext cx="2863022" cy="923330"/>
          </a:xfrm>
          <a:prstGeom prst="rect">
            <a:avLst/>
          </a:prstGeom>
          <a:noFill/>
        </p:spPr>
        <p:txBody>
          <a:bodyPr wrap="square" rtlCol="0">
            <a:spAutoFit/>
          </a:bodyPr>
          <a:lstStyle/>
          <a:p>
            <a:r>
              <a:rPr lang="en-US" dirty="0" smtClean="0"/>
              <a:t>If test case “</a:t>
            </a:r>
            <a:r>
              <a:rPr lang="en-US" dirty="0" smtClean="0">
                <a:solidFill>
                  <a:srgbClr val="FF0000"/>
                </a:solidFill>
              </a:rPr>
              <a:t>fails</a:t>
            </a:r>
            <a:r>
              <a:rPr lang="en-US" dirty="0" smtClean="0"/>
              <a:t>” the issue is worked on and retested until it passes</a:t>
            </a:r>
            <a:endParaRPr lang="en-US" dirty="0"/>
          </a:p>
        </p:txBody>
      </p:sp>
      <p:sp>
        <p:nvSpPr>
          <p:cNvPr id="20" name="Folded Corner 19"/>
          <p:cNvSpPr/>
          <p:nvPr/>
        </p:nvSpPr>
        <p:spPr>
          <a:xfrm rot="20681975">
            <a:off x="9956936" y="5232169"/>
            <a:ext cx="1310215" cy="1166490"/>
          </a:xfrm>
          <a:prstGeom prst="foldedCorner">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smtClean="0">
                <a:solidFill>
                  <a:schemeClr val="tx2"/>
                </a:solidFill>
              </a:rPr>
              <a:t>Testing for technical AND functional business requirements</a:t>
            </a:r>
            <a:endParaRPr lang="en-US" sz="1350" dirty="0">
              <a:solidFill>
                <a:schemeClr val="tx2"/>
              </a:solidFill>
            </a:endParaRPr>
          </a:p>
        </p:txBody>
      </p:sp>
    </p:spTree>
    <p:extLst>
      <p:ext uri="{BB962C8B-B14F-4D97-AF65-F5344CB8AC3E}">
        <p14:creationId xmlns:p14="http://schemas.microsoft.com/office/powerpoint/2010/main" val="16783385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alidate</a:t>
            </a:r>
            <a:endParaRPr lang="en-US" dirty="0"/>
          </a:p>
        </p:txBody>
      </p:sp>
      <p:sp>
        <p:nvSpPr>
          <p:cNvPr id="19" name="Oval 18"/>
          <p:cNvSpPr/>
          <p:nvPr/>
        </p:nvSpPr>
        <p:spPr>
          <a:xfrm>
            <a:off x="5494387" y="2307773"/>
            <a:ext cx="1750423" cy="1750423"/>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21" name="Straight Connector 20"/>
          <p:cNvCxnSpPr>
            <a:stCxn id="19" idx="7"/>
          </p:cNvCxnSpPr>
          <p:nvPr/>
        </p:nvCxnSpPr>
        <p:spPr>
          <a:xfrm flipV="1">
            <a:off x="6988466" y="1414394"/>
            <a:ext cx="1145368" cy="1149723"/>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22" name="Oval 21"/>
          <p:cNvSpPr/>
          <p:nvPr/>
        </p:nvSpPr>
        <p:spPr>
          <a:xfrm>
            <a:off x="7980684" y="255180"/>
            <a:ext cx="1251889" cy="12518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smtClean="0"/>
          </a:p>
        </p:txBody>
      </p:sp>
      <p:sp>
        <p:nvSpPr>
          <p:cNvPr id="23" name="TextBox 22"/>
          <p:cNvSpPr txBox="1"/>
          <p:nvPr/>
        </p:nvSpPr>
        <p:spPr>
          <a:xfrm>
            <a:off x="7980684" y="412689"/>
            <a:ext cx="1251888" cy="923330"/>
          </a:xfrm>
          <a:prstGeom prst="rect">
            <a:avLst/>
          </a:prstGeom>
          <a:noFill/>
        </p:spPr>
        <p:txBody>
          <a:bodyPr wrap="square" rtlCol="0">
            <a:spAutoFit/>
          </a:bodyPr>
          <a:lstStyle/>
          <a:p>
            <a:pPr algn="ctr"/>
            <a:r>
              <a:rPr lang="en-US" dirty="0" smtClean="0">
                <a:solidFill>
                  <a:schemeClr val="bg1"/>
                </a:solidFill>
              </a:rPr>
              <a:t>Data</a:t>
            </a:r>
          </a:p>
          <a:p>
            <a:pPr algn="ctr"/>
            <a:r>
              <a:rPr lang="en-US" dirty="0" smtClean="0">
                <a:solidFill>
                  <a:schemeClr val="bg1"/>
                </a:solidFill>
              </a:rPr>
              <a:t>Migration</a:t>
            </a:r>
          </a:p>
          <a:p>
            <a:pPr algn="ctr"/>
            <a:r>
              <a:rPr lang="en-US" dirty="0" smtClean="0">
                <a:solidFill>
                  <a:schemeClr val="bg1"/>
                </a:solidFill>
              </a:rPr>
              <a:t>Testing</a:t>
            </a:r>
            <a:endParaRPr lang="en-US" dirty="0">
              <a:solidFill>
                <a:schemeClr val="bg1"/>
              </a:solidFill>
            </a:endParaRPr>
          </a:p>
        </p:txBody>
      </p:sp>
      <p:sp>
        <p:nvSpPr>
          <p:cNvPr id="24" name="TextBox 23"/>
          <p:cNvSpPr txBox="1"/>
          <p:nvPr/>
        </p:nvSpPr>
        <p:spPr>
          <a:xfrm>
            <a:off x="5759440" y="2745601"/>
            <a:ext cx="1237735" cy="830997"/>
          </a:xfrm>
          <a:prstGeom prst="rect">
            <a:avLst/>
          </a:prstGeom>
          <a:noFill/>
        </p:spPr>
        <p:txBody>
          <a:bodyPr wrap="square" rtlCol="0">
            <a:spAutoFit/>
          </a:bodyPr>
          <a:lstStyle/>
          <a:p>
            <a:pPr algn="ctr"/>
            <a:r>
              <a:rPr lang="en-US" sz="2400" dirty="0" smtClean="0">
                <a:solidFill>
                  <a:schemeClr val="bg1"/>
                </a:solidFill>
              </a:rPr>
              <a:t>Testing</a:t>
            </a:r>
          </a:p>
          <a:p>
            <a:pPr algn="ctr"/>
            <a:r>
              <a:rPr lang="en-US" sz="2400" dirty="0" smtClean="0">
                <a:solidFill>
                  <a:schemeClr val="bg1"/>
                </a:solidFill>
              </a:rPr>
              <a:t>Strategy</a:t>
            </a:r>
            <a:endParaRPr lang="en-US" dirty="0">
              <a:solidFill>
                <a:schemeClr val="bg1"/>
              </a:solidFill>
            </a:endParaRPr>
          </a:p>
        </p:txBody>
      </p:sp>
      <p:sp>
        <p:nvSpPr>
          <p:cNvPr id="25" name="TextBox 24"/>
          <p:cNvSpPr txBox="1"/>
          <p:nvPr/>
        </p:nvSpPr>
        <p:spPr>
          <a:xfrm>
            <a:off x="9066460" y="1159934"/>
            <a:ext cx="2863285"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chemeClr val="accent2"/>
                </a:solidFill>
              </a:rPr>
              <a:t>Transferring </a:t>
            </a:r>
            <a:r>
              <a:rPr lang="en-US" sz="1400" dirty="0" err="1" smtClean="0">
                <a:solidFill>
                  <a:schemeClr val="accent2"/>
                </a:solidFill>
              </a:rPr>
              <a:t>Coeus</a:t>
            </a:r>
            <a:r>
              <a:rPr lang="en-US" sz="1400" dirty="0" smtClean="0">
                <a:solidFill>
                  <a:schemeClr val="accent2"/>
                </a:solidFill>
              </a:rPr>
              <a:t> Data to </a:t>
            </a:r>
            <a:r>
              <a:rPr lang="en-US" sz="1400" dirty="0" err="1" smtClean="0">
                <a:solidFill>
                  <a:schemeClr val="accent2"/>
                </a:solidFill>
              </a:rPr>
              <a:t>Kuali</a:t>
            </a:r>
            <a:endParaRPr lang="en-US" sz="1400" dirty="0" smtClean="0">
              <a:solidFill>
                <a:schemeClr val="accent2"/>
              </a:solidFill>
            </a:endParaRPr>
          </a:p>
          <a:p>
            <a:pPr marL="285750" indent="-285750">
              <a:buFont typeface="Arial" panose="020B0604020202020204" pitchFamily="34" charset="0"/>
              <a:buChar char="•"/>
            </a:pPr>
            <a:r>
              <a:rPr lang="en-US" sz="1400" dirty="0" smtClean="0">
                <a:solidFill>
                  <a:schemeClr val="accent2"/>
                </a:solidFill>
              </a:rPr>
              <a:t>Scheduled: </a:t>
            </a:r>
            <a:r>
              <a:rPr lang="en-US" sz="1400" b="1" dirty="0" smtClean="0">
                <a:solidFill>
                  <a:schemeClr val="accent1"/>
                </a:solidFill>
              </a:rPr>
              <a:t>May - June</a:t>
            </a:r>
            <a:endParaRPr lang="en-US" sz="1400" b="1" dirty="0">
              <a:solidFill>
                <a:schemeClr val="accent1"/>
              </a:solidFill>
            </a:endParaRPr>
          </a:p>
        </p:txBody>
      </p:sp>
      <p:cxnSp>
        <p:nvCxnSpPr>
          <p:cNvPr id="26" name="Straight Connector 25"/>
          <p:cNvCxnSpPr/>
          <p:nvPr/>
        </p:nvCxnSpPr>
        <p:spPr>
          <a:xfrm flipV="1">
            <a:off x="7244810" y="3178630"/>
            <a:ext cx="1619794" cy="4355"/>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27" name="Oval 26"/>
          <p:cNvSpPr/>
          <p:nvPr/>
        </p:nvSpPr>
        <p:spPr>
          <a:xfrm>
            <a:off x="8934272" y="2557040"/>
            <a:ext cx="1251889" cy="12518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8" name="TextBox 27"/>
          <p:cNvSpPr txBox="1"/>
          <p:nvPr/>
        </p:nvSpPr>
        <p:spPr>
          <a:xfrm>
            <a:off x="8946265" y="2875840"/>
            <a:ext cx="1251888" cy="646331"/>
          </a:xfrm>
          <a:prstGeom prst="rect">
            <a:avLst/>
          </a:prstGeom>
          <a:noFill/>
        </p:spPr>
        <p:txBody>
          <a:bodyPr wrap="square" rtlCol="0">
            <a:spAutoFit/>
          </a:bodyPr>
          <a:lstStyle/>
          <a:p>
            <a:pPr algn="ctr"/>
            <a:r>
              <a:rPr lang="en-US" dirty="0" smtClean="0">
                <a:solidFill>
                  <a:schemeClr val="bg1"/>
                </a:solidFill>
              </a:rPr>
              <a:t>Functional</a:t>
            </a:r>
          </a:p>
          <a:p>
            <a:pPr algn="ctr"/>
            <a:r>
              <a:rPr lang="en-US" dirty="0" smtClean="0">
                <a:solidFill>
                  <a:schemeClr val="bg1"/>
                </a:solidFill>
              </a:rPr>
              <a:t>Testing</a:t>
            </a:r>
            <a:endParaRPr lang="en-US" dirty="0">
              <a:solidFill>
                <a:schemeClr val="bg1"/>
              </a:solidFill>
            </a:endParaRPr>
          </a:p>
        </p:txBody>
      </p:sp>
      <p:sp>
        <p:nvSpPr>
          <p:cNvPr id="29" name="TextBox 28"/>
          <p:cNvSpPr txBox="1"/>
          <p:nvPr/>
        </p:nvSpPr>
        <p:spPr>
          <a:xfrm>
            <a:off x="9157212" y="3831122"/>
            <a:ext cx="2877961"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chemeClr val="accent2"/>
                </a:solidFill>
              </a:rPr>
              <a:t>Technical configuration of </a:t>
            </a:r>
            <a:r>
              <a:rPr lang="en-US" sz="1400" dirty="0" err="1" smtClean="0">
                <a:solidFill>
                  <a:schemeClr val="accent2"/>
                </a:solidFill>
              </a:rPr>
              <a:t>Kuali</a:t>
            </a:r>
            <a:r>
              <a:rPr lang="en-US" sz="1400" dirty="0" smtClean="0">
                <a:solidFill>
                  <a:schemeClr val="accent2"/>
                </a:solidFill>
              </a:rPr>
              <a:t> </a:t>
            </a:r>
          </a:p>
          <a:p>
            <a:pPr marL="285750" indent="-285750">
              <a:buFont typeface="Arial" panose="020B0604020202020204" pitchFamily="34" charset="0"/>
              <a:buChar char="•"/>
            </a:pPr>
            <a:r>
              <a:rPr lang="en-US" sz="1400" dirty="0" smtClean="0">
                <a:solidFill>
                  <a:schemeClr val="accent2"/>
                </a:solidFill>
              </a:rPr>
              <a:t>Scheduled: </a:t>
            </a:r>
            <a:r>
              <a:rPr lang="en-US" sz="1400" b="1" dirty="0" smtClean="0">
                <a:solidFill>
                  <a:schemeClr val="accent1"/>
                </a:solidFill>
              </a:rPr>
              <a:t>May - June</a:t>
            </a:r>
            <a:endParaRPr lang="en-US" sz="1400" b="1" dirty="0">
              <a:solidFill>
                <a:schemeClr val="accent1"/>
              </a:solidFill>
            </a:endParaRPr>
          </a:p>
        </p:txBody>
      </p:sp>
      <p:cxnSp>
        <p:nvCxnSpPr>
          <p:cNvPr id="30" name="Straight Connector 29"/>
          <p:cNvCxnSpPr/>
          <p:nvPr/>
        </p:nvCxnSpPr>
        <p:spPr>
          <a:xfrm>
            <a:off x="6988466" y="3801852"/>
            <a:ext cx="1145368" cy="1141014"/>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1" name="Oval 30"/>
          <p:cNvSpPr/>
          <p:nvPr/>
        </p:nvSpPr>
        <p:spPr>
          <a:xfrm>
            <a:off x="7980683" y="4803852"/>
            <a:ext cx="1251889" cy="12518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TextBox 31"/>
          <p:cNvSpPr txBox="1"/>
          <p:nvPr/>
        </p:nvSpPr>
        <p:spPr>
          <a:xfrm>
            <a:off x="7989392" y="4975078"/>
            <a:ext cx="1251888" cy="923330"/>
          </a:xfrm>
          <a:prstGeom prst="rect">
            <a:avLst/>
          </a:prstGeom>
          <a:noFill/>
        </p:spPr>
        <p:txBody>
          <a:bodyPr wrap="square" rtlCol="0">
            <a:spAutoFit/>
          </a:bodyPr>
          <a:lstStyle/>
          <a:p>
            <a:pPr algn="ctr"/>
            <a:r>
              <a:rPr lang="en-US" dirty="0" smtClean="0">
                <a:solidFill>
                  <a:schemeClr val="bg1"/>
                </a:solidFill>
              </a:rPr>
              <a:t>System</a:t>
            </a:r>
          </a:p>
          <a:p>
            <a:pPr algn="ctr"/>
            <a:r>
              <a:rPr lang="en-US" dirty="0" smtClean="0">
                <a:solidFill>
                  <a:schemeClr val="bg1"/>
                </a:solidFill>
              </a:rPr>
              <a:t>Integration</a:t>
            </a:r>
          </a:p>
          <a:p>
            <a:pPr algn="ctr"/>
            <a:r>
              <a:rPr lang="en-US" dirty="0" smtClean="0">
                <a:solidFill>
                  <a:schemeClr val="bg1"/>
                </a:solidFill>
              </a:rPr>
              <a:t>Testing</a:t>
            </a:r>
            <a:endParaRPr lang="en-US" dirty="0">
              <a:solidFill>
                <a:schemeClr val="bg1"/>
              </a:solidFill>
            </a:endParaRPr>
          </a:p>
        </p:txBody>
      </p:sp>
      <p:sp>
        <p:nvSpPr>
          <p:cNvPr id="33" name="TextBox 32"/>
          <p:cNvSpPr txBox="1"/>
          <p:nvPr/>
        </p:nvSpPr>
        <p:spPr>
          <a:xfrm>
            <a:off x="7931364" y="6074967"/>
            <a:ext cx="4260636"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solidFill>
              </a:rPr>
              <a:t>Data pushed in and pulled out of </a:t>
            </a:r>
            <a:r>
              <a:rPr lang="en-US" sz="1400" dirty="0" err="1">
                <a:solidFill>
                  <a:schemeClr val="accent2"/>
                </a:solidFill>
              </a:rPr>
              <a:t>Kuali</a:t>
            </a:r>
            <a:r>
              <a:rPr lang="en-US" sz="1400" dirty="0">
                <a:solidFill>
                  <a:schemeClr val="accent2"/>
                </a:solidFill>
              </a:rPr>
              <a:t> from other enterprise </a:t>
            </a:r>
            <a:r>
              <a:rPr lang="en-US" sz="1400" dirty="0" smtClean="0">
                <a:solidFill>
                  <a:schemeClr val="accent2"/>
                </a:solidFill>
              </a:rPr>
              <a:t>systems (e.g</a:t>
            </a:r>
            <a:r>
              <a:rPr lang="en-US" sz="1400" dirty="0">
                <a:solidFill>
                  <a:schemeClr val="accent2"/>
                </a:solidFill>
              </a:rPr>
              <a:t>. Financial, HR, Sponsor, </a:t>
            </a:r>
            <a:r>
              <a:rPr lang="en-US" sz="1400" dirty="0" smtClean="0">
                <a:solidFill>
                  <a:schemeClr val="accent2"/>
                </a:solidFill>
              </a:rPr>
              <a:t>etc.) </a:t>
            </a:r>
          </a:p>
          <a:p>
            <a:pPr marL="285750" indent="-285750">
              <a:buFont typeface="Arial" panose="020B0604020202020204" pitchFamily="34" charset="0"/>
              <a:buChar char="•"/>
            </a:pPr>
            <a:r>
              <a:rPr lang="en-US" sz="1400" dirty="0" smtClean="0">
                <a:solidFill>
                  <a:schemeClr val="accent2"/>
                </a:solidFill>
              </a:rPr>
              <a:t>Scheduled: </a:t>
            </a:r>
            <a:r>
              <a:rPr lang="en-US" sz="1400" b="1" dirty="0" smtClean="0">
                <a:solidFill>
                  <a:schemeClr val="accent1"/>
                </a:solidFill>
              </a:rPr>
              <a:t>June - July</a:t>
            </a:r>
            <a:endParaRPr lang="en-US" sz="1400" b="1" dirty="0">
              <a:solidFill>
                <a:schemeClr val="accent1"/>
              </a:solidFill>
            </a:endParaRPr>
          </a:p>
        </p:txBody>
      </p:sp>
      <p:cxnSp>
        <p:nvCxnSpPr>
          <p:cNvPr id="34" name="Straight Connector 33"/>
          <p:cNvCxnSpPr/>
          <p:nvPr/>
        </p:nvCxnSpPr>
        <p:spPr>
          <a:xfrm flipH="1">
            <a:off x="4605362" y="3801852"/>
            <a:ext cx="1145369" cy="1141014"/>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5" name="Oval 34"/>
          <p:cNvSpPr/>
          <p:nvPr/>
        </p:nvSpPr>
        <p:spPr>
          <a:xfrm>
            <a:off x="3506624" y="4803851"/>
            <a:ext cx="1251889" cy="12518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6" name="TextBox 35"/>
          <p:cNvSpPr txBox="1"/>
          <p:nvPr/>
        </p:nvSpPr>
        <p:spPr>
          <a:xfrm>
            <a:off x="3480497" y="4981494"/>
            <a:ext cx="1251888" cy="923330"/>
          </a:xfrm>
          <a:prstGeom prst="rect">
            <a:avLst/>
          </a:prstGeom>
          <a:noFill/>
        </p:spPr>
        <p:txBody>
          <a:bodyPr wrap="square" rtlCol="0">
            <a:spAutoFit/>
          </a:bodyPr>
          <a:lstStyle/>
          <a:p>
            <a:pPr algn="ctr"/>
            <a:r>
              <a:rPr lang="en-US" dirty="0" smtClean="0">
                <a:solidFill>
                  <a:schemeClr val="bg1"/>
                </a:solidFill>
              </a:rPr>
              <a:t>Business</a:t>
            </a:r>
          </a:p>
          <a:p>
            <a:pPr algn="ctr"/>
            <a:r>
              <a:rPr lang="en-US" dirty="0" smtClean="0">
                <a:solidFill>
                  <a:schemeClr val="bg1"/>
                </a:solidFill>
              </a:rPr>
              <a:t>Process Testing</a:t>
            </a:r>
            <a:endParaRPr lang="en-US" dirty="0">
              <a:solidFill>
                <a:schemeClr val="bg1"/>
              </a:solidFill>
            </a:endParaRPr>
          </a:p>
        </p:txBody>
      </p:sp>
      <p:sp>
        <p:nvSpPr>
          <p:cNvPr id="37" name="TextBox 36"/>
          <p:cNvSpPr txBox="1"/>
          <p:nvPr/>
        </p:nvSpPr>
        <p:spPr>
          <a:xfrm>
            <a:off x="3480497" y="6119336"/>
            <a:ext cx="4260636"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chemeClr val="accent2"/>
                </a:solidFill>
              </a:rPr>
              <a:t>End-to-end </a:t>
            </a:r>
            <a:r>
              <a:rPr lang="en-US" sz="1400" dirty="0">
                <a:solidFill>
                  <a:schemeClr val="accent2"/>
                </a:solidFill>
              </a:rPr>
              <a:t>test of new business process flows determined in Business Process Improvement phase </a:t>
            </a:r>
            <a:endParaRPr lang="en-US" sz="1400" dirty="0" smtClean="0">
              <a:solidFill>
                <a:schemeClr val="accent2"/>
              </a:solidFill>
            </a:endParaRPr>
          </a:p>
          <a:p>
            <a:pPr marL="285750" indent="-285750">
              <a:buFont typeface="Arial" panose="020B0604020202020204" pitchFamily="34" charset="0"/>
              <a:buChar char="•"/>
            </a:pPr>
            <a:r>
              <a:rPr lang="en-US" sz="1400" dirty="0" smtClean="0">
                <a:solidFill>
                  <a:schemeClr val="accent2"/>
                </a:solidFill>
              </a:rPr>
              <a:t>Scheduled: </a:t>
            </a:r>
            <a:r>
              <a:rPr lang="en-US" sz="1400" b="1" dirty="0" smtClean="0">
                <a:solidFill>
                  <a:schemeClr val="accent1"/>
                </a:solidFill>
              </a:rPr>
              <a:t>July - August</a:t>
            </a:r>
            <a:endParaRPr lang="en-US" sz="1400" b="1" dirty="0">
              <a:solidFill>
                <a:schemeClr val="accent1"/>
              </a:solidFill>
            </a:endParaRPr>
          </a:p>
        </p:txBody>
      </p:sp>
      <p:cxnSp>
        <p:nvCxnSpPr>
          <p:cNvPr id="38" name="Straight Connector 37"/>
          <p:cNvCxnSpPr/>
          <p:nvPr/>
        </p:nvCxnSpPr>
        <p:spPr>
          <a:xfrm flipH="1" flipV="1">
            <a:off x="3874592" y="3178630"/>
            <a:ext cx="1619795" cy="4355"/>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9" name="Oval 38"/>
          <p:cNvSpPr/>
          <p:nvPr/>
        </p:nvSpPr>
        <p:spPr>
          <a:xfrm>
            <a:off x="2571523" y="2571427"/>
            <a:ext cx="1251889" cy="12518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0" name="TextBox 39"/>
          <p:cNvSpPr txBox="1"/>
          <p:nvPr/>
        </p:nvSpPr>
        <p:spPr>
          <a:xfrm>
            <a:off x="2483331" y="2925297"/>
            <a:ext cx="1428272" cy="646331"/>
          </a:xfrm>
          <a:prstGeom prst="rect">
            <a:avLst/>
          </a:prstGeom>
          <a:noFill/>
        </p:spPr>
        <p:txBody>
          <a:bodyPr wrap="square" rtlCol="0">
            <a:spAutoFit/>
          </a:bodyPr>
          <a:lstStyle/>
          <a:p>
            <a:pPr algn="ctr"/>
            <a:r>
              <a:rPr lang="en-US" dirty="0" smtClean="0">
                <a:solidFill>
                  <a:schemeClr val="bg1"/>
                </a:solidFill>
              </a:rPr>
              <a:t>Performance </a:t>
            </a:r>
          </a:p>
          <a:p>
            <a:pPr algn="ctr"/>
            <a:r>
              <a:rPr lang="en-US" dirty="0" smtClean="0">
                <a:solidFill>
                  <a:schemeClr val="bg1"/>
                </a:solidFill>
              </a:rPr>
              <a:t>Testing</a:t>
            </a:r>
            <a:endParaRPr lang="en-US" dirty="0">
              <a:solidFill>
                <a:schemeClr val="bg1"/>
              </a:solidFill>
            </a:endParaRPr>
          </a:p>
        </p:txBody>
      </p:sp>
      <p:sp>
        <p:nvSpPr>
          <p:cNvPr id="41" name="TextBox 40"/>
          <p:cNvSpPr txBox="1"/>
          <p:nvPr/>
        </p:nvSpPr>
        <p:spPr>
          <a:xfrm>
            <a:off x="2495040" y="3786140"/>
            <a:ext cx="2955989"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accent2"/>
                </a:solidFill>
              </a:rPr>
              <a:t>Ensure system will perform to acceptable standards </a:t>
            </a:r>
            <a:endParaRPr lang="en-US" sz="1400" dirty="0" smtClean="0">
              <a:solidFill>
                <a:schemeClr val="accent2"/>
              </a:solidFill>
            </a:endParaRPr>
          </a:p>
          <a:p>
            <a:pPr marL="285750" indent="-285750">
              <a:buFont typeface="Arial" panose="020B0604020202020204" pitchFamily="34" charset="0"/>
              <a:buChar char="•"/>
            </a:pPr>
            <a:r>
              <a:rPr lang="en-US" sz="1400" dirty="0" smtClean="0">
                <a:solidFill>
                  <a:schemeClr val="accent2"/>
                </a:solidFill>
              </a:rPr>
              <a:t>Scheduled: </a:t>
            </a:r>
            <a:r>
              <a:rPr lang="en-US" sz="1400" b="1" dirty="0" smtClean="0">
                <a:solidFill>
                  <a:schemeClr val="accent1"/>
                </a:solidFill>
              </a:rPr>
              <a:t>August</a:t>
            </a:r>
            <a:endParaRPr lang="en-US" sz="1400" b="1" dirty="0">
              <a:solidFill>
                <a:schemeClr val="accent1"/>
              </a:solidFill>
            </a:endParaRPr>
          </a:p>
        </p:txBody>
      </p:sp>
      <p:cxnSp>
        <p:nvCxnSpPr>
          <p:cNvPr id="42" name="Straight Connector 41"/>
          <p:cNvCxnSpPr/>
          <p:nvPr/>
        </p:nvCxnSpPr>
        <p:spPr>
          <a:xfrm flipH="1" flipV="1">
            <a:off x="4605362" y="1414394"/>
            <a:ext cx="1145369" cy="1149723"/>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43" name="Oval 42"/>
          <p:cNvSpPr/>
          <p:nvPr/>
        </p:nvSpPr>
        <p:spPr>
          <a:xfrm>
            <a:off x="3353473" y="423897"/>
            <a:ext cx="1251889" cy="12518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4" name="TextBox 43"/>
          <p:cNvSpPr txBox="1"/>
          <p:nvPr/>
        </p:nvSpPr>
        <p:spPr>
          <a:xfrm>
            <a:off x="3297017" y="574617"/>
            <a:ext cx="1364285" cy="923330"/>
          </a:xfrm>
          <a:prstGeom prst="rect">
            <a:avLst/>
          </a:prstGeom>
          <a:noFill/>
        </p:spPr>
        <p:txBody>
          <a:bodyPr wrap="square" rtlCol="0">
            <a:spAutoFit/>
          </a:bodyPr>
          <a:lstStyle/>
          <a:p>
            <a:pPr algn="ctr"/>
            <a:r>
              <a:rPr lang="en-US" dirty="0" smtClean="0">
                <a:solidFill>
                  <a:schemeClr val="bg1"/>
                </a:solidFill>
              </a:rPr>
              <a:t>User</a:t>
            </a:r>
          </a:p>
          <a:p>
            <a:pPr algn="ctr"/>
            <a:r>
              <a:rPr lang="en-US" dirty="0" smtClean="0">
                <a:solidFill>
                  <a:schemeClr val="bg1"/>
                </a:solidFill>
              </a:rPr>
              <a:t>Acceptance</a:t>
            </a:r>
          </a:p>
          <a:p>
            <a:pPr algn="ctr"/>
            <a:r>
              <a:rPr lang="en-US" dirty="0" smtClean="0">
                <a:solidFill>
                  <a:schemeClr val="bg1"/>
                </a:solidFill>
              </a:rPr>
              <a:t>Testing</a:t>
            </a:r>
            <a:endParaRPr lang="en-US" dirty="0">
              <a:solidFill>
                <a:schemeClr val="bg1"/>
              </a:solidFill>
            </a:endParaRPr>
          </a:p>
        </p:txBody>
      </p:sp>
      <p:sp>
        <p:nvSpPr>
          <p:cNvPr id="45" name="TextBox 44"/>
          <p:cNvSpPr txBox="1"/>
          <p:nvPr/>
        </p:nvSpPr>
        <p:spPr>
          <a:xfrm>
            <a:off x="4618015" y="686572"/>
            <a:ext cx="3179988"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solidFill>
                  <a:schemeClr val="accent2"/>
                </a:solidFill>
              </a:rPr>
              <a:t>Testing new business </a:t>
            </a:r>
            <a:r>
              <a:rPr lang="en-US" sz="1400" dirty="0">
                <a:solidFill>
                  <a:schemeClr val="accent2"/>
                </a:solidFill>
              </a:rPr>
              <a:t>processes and work </a:t>
            </a:r>
            <a:r>
              <a:rPr lang="en-US" sz="1400" dirty="0" smtClean="0">
                <a:solidFill>
                  <a:schemeClr val="accent2"/>
                </a:solidFill>
              </a:rPr>
              <a:t>procedures</a:t>
            </a:r>
          </a:p>
          <a:p>
            <a:pPr marL="285750" indent="-285750">
              <a:buFont typeface="Arial" panose="020B0604020202020204" pitchFamily="34" charset="0"/>
              <a:buChar char="•"/>
            </a:pPr>
            <a:r>
              <a:rPr lang="en-US" sz="1400" dirty="0" smtClean="0">
                <a:solidFill>
                  <a:schemeClr val="accent2"/>
                </a:solidFill>
              </a:rPr>
              <a:t>Scheduled</a:t>
            </a:r>
            <a:r>
              <a:rPr lang="en-US" sz="1400" dirty="0">
                <a:solidFill>
                  <a:schemeClr val="accent2"/>
                </a:solidFill>
              </a:rPr>
              <a:t>: </a:t>
            </a:r>
            <a:r>
              <a:rPr lang="en-US" sz="1400" b="1" dirty="0" smtClean="0">
                <a:solidFill>
                  <a:schemeClr val="accent1"/>
                </a:solidFill>
              </a:rPr>
              <a:t>October - December</a:t>
            </a:r>
            <a:endParaRPr lang="en-US" sz="1400" b="1" dirty="0">
              <a:solidFill>
                <a:schemeClr val="accent1"/>
              </a:solidFill>
            </a:endParaRPr>
          </a:p>
        </p:txBody>
      </p:sp>
    </p:spTree>
    <p:extLst>
      <p:ext uri="{BB962C8B-B14F-4D97-AF65-F5344CB8AC3E}">
        <p14:creationId xmlns:p14="http://schemas.microsoft.com/office/powerpoint/2010/main" val="39499128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ing for Change</a:t>
            </a:r>
            <a:endParaRPr lang="en-US" dirty="0"/>
          </a:p>
        </p:txBody>
      </p:sp>
      <p:grpSp>
        <p:nvGrpSpPr>
          <p:cNvPr id="50" name="Group 49"/>
          <p:cNvGrpSpPr/>
          <p:nvPr/>
        </p:nvGrpSpPr>
        <p:grpSpPr>
          <a:xfrm>
            <a:off x="2468796" y="1060708"/>
            <a:ext cx="2375128" cy="5754831"/>
            <a:chOff x="2468796" y="1060708"/>
            <a:chExt cx="2375128" cy="5754831"/>
          </a:xfrm>
        </p:grpSpPr>
        <p:sp>
          <p:nvSpPr>
            <p:cNvPr id="27" name="Rounded Rectangle 26"/>
            <p:cNvSpPr/>
            <p:nvPr/>
          </p:nvSpPr>
          <p:spPr>
            <a:xfrm>
              <a:off x="2468796" y="1060708"/>
              <a:ext cx="2375128" cy="575483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endParaRPr lang="en-US" sz="1400" dirty="0"/>
            </a:p>
          </p:txBody>
        </p:sp>
        <p:sp>
          <p:nvSpPr>
            <p:cNvPr id="14" name="Rounded Rectangle 13"/>
            <p:cNvSpPr/>
            <p:nvPr/>
          </p:nvSpPr>
          <p:spPr>
            <a:xfrm>
              <a:off x="2569015" y="2519792"/>
              <a:ext cx="2165550" cy="1112991"/>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CRITICAL BEHAVIORS</a:t>
              </a:r>
            </a:p>
            <a:p>
              <a:pPr algn="ctr"/>
              <a:r>
                <a:rPr lang="en-US" sz="1400" dirty="0" smtClean="0"/>
                <a:t>Identify actions that if done have the biggest impact on success</a:t>
              </a:r>
            </a:p>
          </p:txBody>
        </p:sp>
        <p:sp>
          <p:nvSpPr>
            <p:cNvPr id="15" name="Rounded Rectangle 14"/>
            <p:cNvSpPr/>
            <p:nvPr/>
          </p:nvSpPr>
          <p:spPr>
            <a:xfrm>
              <a:off x="2569015" y="4615581"/>
              <a:ext cx="2165549" cy="1105902"/>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OUTCOMES</a:t>
              </a:r>
            </a:p>
            <a:p>
              <a:pPr algn="ctr"/>
              <a:r>
                <a:rPr lang="en-US" sz="1400" smtClean="0"/>
                <a:t>Identify </a:t>
              </a:r>
              <a:r>
                <a:rPr lang="en-US" sz="1400" dirty="0" smtClean="0"/>
                <a:t>the need Knowledge, Skills &amp; Abilities, Attitude, Commitment, Confidence</a:t>
              </a:r>
            </a:p>
          </p:txBody>
        </p:sp>
        <p:sp>
          <p:nvSpPr>
            <p:cNvPr id="16" name="Rounded Rectangle 15"/>
            <p:cNvSpPr/>
            <p:nvPr/>
          </p:nvSpPr>
          <p:spPr>
            <a:xfrm>
              <a:off x="2569015" y="5751861"/>
              <a:ext cx="2165549" cy="794328"/>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EXPERTISE</a:t>
              </a:r>
            </a:p>
            <a:p>
              <a:pPr algn="ctr"/>
              <a:r>
                <a:rPr lang="en-US" sz="1400" dirty="0" smtClean="0"/>
                <a:t>Novice, Competent, Proficient, Expert</a:t>
              </a:r>
            </a:p>
          </p:txBody>
        </p:sp>
        <p:sp>
          <p:nvSpPr>
            <p:cNvPr id="20" name="Rounded Rectangle 19"/>
            <p:cNvSpPr/>
            <p:nvPr/>
          </p:nvSpPr>
          <p:spPr>
            <a:xfrm>
              <a:off x="2569015" y="3679686"/>
              <a:ext cx="2165549" cy="892825"/>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LEARNING GOALS &amp; OBJECTIVES</a:t>
              </a:r>
            </a:p>
            <a:p>
              <a:pPr algn="ctr"/>
              <a:r>
                <a:rPr lang="en-US" sz="1400" dirty="0" smtClean="0"/>
                <a:t>Inform content design and delivery</a:t>
              </a:r>
            </a:p>
          </p:txBody>
        </p:sp>
        <p:sp>
          <p:nvSpPr>
            <p:cNvPr id="23" name="Rounded Rectangle 22"/>
            <p:cNvSpPr/>
            <p:nvPr/>
          </p:nvSpPr>
          <p:spPr>
            <a:xfrm>
              <a:off x="2569015" y="1932890"/>
              <a:ext cx="2165549" cy="55505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AUDIENCES</a:t>
              </a:r>
            </a:p>
            <a:p>
              <a:pPr algn="ctr"/>
              <a:r>
                <a:rPr lang="en-US" sz="1400" dirty="0" smtClean="0"/>
                <a:t>Identify trainees</a:t>
              </a:r>
            </a:p>
          </p:txBody>
        </p:sp>
        <p:grpSp>
          <p:nvGrpSpPr>
            <p:cNvPr id="39" name="Group 38"/>
            <p:cNvGrpSpPr/>
            <p:nvPr/>
          </p:nvGrpSpPr>
          <p:grpSpPr>
            <a:xfrm>
              <a:off x="2595344" y="1060709"/>
              <a:ext cx="2152161" cy="677772"/>
              <a:chOff x="2595344" y="1060709"/>
              <a:chExt cx="2152161" cy="677772"/>
            </a:xfrm>
          </p:grpSpPr>
          <p:pic>
            <p:nvPicPr>
              <p:cNvPr id="4" name="Picture 3"/>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72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2595344" y="1060709"/>
                <a:ext cx="675363" cy="675363"/>
              </a:xfrm>
              <a:prstGeom prst="rect">
                <a:avLst/>
              </a:prstGeom>
            </p:spPr>
          </p:pic>
          <p:sp>
            <p:nvSpPr>
              <p:cNvPr id="3" name="Rectangle 2"/>
              <p:cNvSpPr/>
              <p:nvPr/>
            </p:nvSpPr>
            <p:spPr>
              <a:xfrm>
                <a:off x="2630205" y="1215261"/>
                <a:ext cx="2117300" cy="523220"/>
              </a:xfrm>
              <a:prstGeom prst="rect">
                <a:avLst/>
              </a:prstGeom>
            </p:spPr>
            <p:txBody>
              <a:bodyPr wrap="square">
                <a:spAutoFit/>
              </a:bodyPr>
              <a:lstStyle/>
              <a:p>
                <a:pPr lvl="1" algn="ctr"/>
                <a:r>
                  <a:rPr lang="en-US" sz="1400" b="1" dirty="0">
                    <a:solidFill>
                      <a:schemeClr val="accent2"/>
                    </a:solidFill>
                  </a:rPr>
                  <a:t>ASSESSING TRAINING NEEDS</a:t>
                </a:r>
              </a:p>
            </p:txBody>
          </p:sp>
        </p:grpSp>
      </p:grpSp>
      <p:grpSp>
        <p:nvGrpSpPr>
          <p:cNvPr id="51" name="Group 50"/>
          <p:cNvGrpSpPr/>
          <p:nvPr/>
        </p:nvGrpSpPr>
        <p:grpSpPr>
          <a:xfrm>
            <a:off x="4892833" y="1060708"/>
            <a:ext cx="2375128" cy="5754831"/>
            <a:chOff x="4892833" y="1060708"/>
            <a:chExt cx="2375128" cy="5754831"/>
          </a:xfrm>
        </p:grpSpPr>
        <p:sp>
          <p:nvSpPr>
            <p:cNvPr id="28" name="Rounded Rectangle 27"/>
            <p:cNvSpPr/>
            <p:nvPr/>
          </p:nvSpPr>
          <p:spPr>
            <a:xfrm>
              <a:off x="4892833" y="1060708"/>
              <a:ext cx="2375128" cy="575483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endParaRPr lang="en-US" sz="1400" dirty="0"/>
            </a:p>
          </p:txBody>
        </p:sp>
        <p:sp>
          <p:nvSpPr>
            <p:cNvPr id="18" name="Rounded Rectangle 17"/>
            <p:cNvSpPr/>
            <p:nvPr/>
          </p:nvSpPr>
          <p:spPr>
            <a:xfrm>
              <a:off x="5019015" y="1928837"/>
              <a:ext cx="2180890" cy="1118206"/>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CONTENT</a:t>
              </a:r>
            </a:p>
            <a:p>
              <a:pPr algn="ctr"/>
              <a:r>
                <a:rPr lang="en-US" sz="1400" dirty="0"/>
                <a:t>D</a:t>
              </a:r>
              <a:r>
                <a:rPr lang="en-US" sz="1400" dirty="0" smtClean="0"/>
                <a:t>esigned to address Technology, Process/Knowledge and Mindset</a:t>
              </a:r>
            </a:p>
          </p:txBody>
        </p:sp>
        <p:sp>
          <p:nvSpPr>
            <p:cNvPr id="19" name="Rounded Rectangle 18"/>
            <p:cNvSpPr/>
            <p:nvPr/>
          </p:nvSpPr>
          <p:spPr>
            <a:xfrm>
              <a:off x="5019015" y="4572511"/>
              <a:ext cx="2143943" cy="2179283"/>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DELIVERY METHODS</a:t>
              </a:r>
            </a:p>
            <a:p>
              <a:pPr algn="ctr"/>
              <a:r>
                <a:rPr lang="en-US" sz="1400" dirty="0" smtClean="0"/>
                <a:t>Train-the-Trainer </a:t>
              </a:r>
            </a:p>
            <a:p>
              <a:pPr algn="ctr"/>
              <a:r>
                <a:rPr lang="en-US" sz="1400" dirty="0" smtClean="0"/>
                <a:t>In Person Instructor Led Virtual Instructor Led Recorded Presentations</a:t>
              </a:r>
            </a:p>
            <a:p>
              <a:pPr algn="ctr"/>
              <a:r>
                <a:rPr lang="en-US" sz="1400" dirty="0" smtClean="0"/>
                <a:t>Learning Lab/Open Offices</a:t>
              </a:r>
            </a:p>
            <a:p>
              <a:pPr algn="ctr"/>
              <a:r>
                <a:rPr lang="en-US" sz="1400" dirty="0" smtClean="0"/>
                <a:t>Digital Adoption Platform </a:t>
              </a:r>
              <a:endParaRPr lang="en-US" sz="1400" dirty="0"/>
            </a:p>
            <a:p>
              <a:pPr algn="ctr"/>
              <a:r>
                <a:rPr lang="en-US" sz="1400" dirty="0" smtClean="0"/>
                <a:t>On-the-Job Coaching</a:t>
              </a:r>
            </a:p>
          </p:txBody>
        </p:sp>
        <p:sp>
          <p:nvSpPr>
            <p:cNvPr id="24" name="Rounded Rectangle 23"/>
            <p:cNvSpPr/>
            <p:nvPr/>
          </p:nvSpPr>
          <p:spPr>
            <a:xfrm>
              <a:off x="5010246" y="3086240"/>
              <a:ext cx="2152712" cy="1445825"/>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SME ROLES</a:t>
              </a:r>
            </a:p>
            <a:p>
              <a:pPr algn="ctr"/>
              <a:r>
                <a:rPr lang="en-US" sz="1400" dirty="0"/>
                <a:t>C</a:t>
              </a:r>
              <a:r>
                <a:rPr lang="en-US" sz="1400" dirty="0" smtClean="0"/>
                <a:t>ontribute as Content Providers, Content Reviewers, Trainer, Co-Trainers, Coaches, Mentors</a:t>
              </a:r>
            </a:p>
          </p:txBody>
        </p:sp>
        <p:grpSp>
          <p:nvGrpSpPr>
            <p:cNvPr id="41" name="Group 40"/>
            <p:cNvGrpSpPr/>
            <p:nvPr/>
          </p:nvGrpSpPr>
          <p:grpSpPr>
            <a:xfrm>
              <a:off x="5002674" y="1078882"/>
              <a:ext cx="2175649" cy="682713"/>
              <a:chOff x="5002674" y="1078882"/>
              <a:chExt cx="2175649" cy="682713"/>
            </a:xfrm>
          </p:grpSpPr>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02674" y="1078882"/>
                <a:ext cx="655158" cy="655158"/>
              </a:xfrm>
              <a:prstGeom prst="rect">
                <a:avLst/>
              </a:prstGeom>
            </p:spPr>
          </p:pic>
          <p:sp>
            <p:nvSpPr>
              <p:cNvPr id="25" name="Rectangle 24"/>
              <p:cNvSpPr/>
              <p:nvPr/>
            </p:nvSpPr>
            <p:spPr>
              <a:xfrm>
                <a:off x="5047189" y="1238375"/>
                <a:ext cx="2131134" cy="523220"/>
              </a:xfrm>
              <a:prstGeom prst="rect">
                <a:avLst/>
              </a:prstGeom>
            </p:spPr>
            <p:txBody>
              <a:bodyPr wrap="square">
                <a:spAutoFit/>
              </a:bodyPr>
              <a:lstStyle/>
              <a:p>
                <a:pPr lvl="1" algn="ctr"/>
                <a:r>
                  <a:rPr lang="en-US" sz="1400" b="1" dirty="0">
                    <a:solidFill>
                      <a:schemeClr val="accent2"/>
                    </a:solidFill>
                  </a:rPr>
                  <a:t>DEVELOP &amp; DELIVER TRAINING</a:t>
                </a:r>
              </a:p>
            </p:txBody>
          </p:sp>
        </p:grpSp>
      </p:grpSp>
      <p:grpSp>
        <p:nvGrpSpPr>
          <p:cNvPr id="52" name="Group 51"/>
          <p:cNvGrpSpPr/>
          <p:nvPr/>
        </p:nvGrpSpPr>
        <p:grpSpPr>
          <a:xfrm>
            <a:off x="7326737" y="1056988"/>
            <a:ext cx="2375128" cy="5754831"/>
            <a:chOff x="7326737" y="1056988"/>
            <a:chExt cx="2375128" cy="5754831"/>
          </a:xfrm>
        </p:grpSpPr>
        <p:sp>
          <p:nvSpPr>
            <p:cNvPr id="31" name="Rounded Rectangle 30"/>
            <p:cNvSpPr/>
            <p:nvPr/>
          </p:nvSpPr>
          <p:spPr>
            <a:xfrm>
              <a:off x="7326737" y="1056988"/>
              <a:ext cx="2375128" cy="575483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endParaRPr lang="en-US" sz="1400" dirty="0"/>
            </a:p>
          </p:txBody>
        </p:sp>
        <p:grpSp>
          <p:nvGrpSpPr>
            <p:cNvPr id="42" name="Group 41"/>
            <p:cNvGrpSpPr/>
            <p:nvPr/>
          </p:nvGrpSpPr>
          <p:grpSpPr>
            <a:xfrm>
              <a:off x="7411920" y="1119583"/>
              <a:ext cx="2076183" cy="611825"/>
              <a:chOff x="7411920" y="1119583"/>
              <a:chExt cx="2076183" cy="611825"/>
            </a:xfrm>
          </p:grpSpPr>
          <p:pic>
            <p:nvPicPr>
              <p:cNvPr id="26" name="Picture 25"/>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411920" y="1119583"/>
                <a:ext cx="611825" cy="611825"/>
              </a:xfrm>
              <a:prstGeom prst="rect">
                <a:avLst/>
              </a:prstGeom>
            </p:spPr>
          </p:pic>
          <p:sp>
            <p:nvSpPr>
              <p:cNvPr id="29" name="Rectangle 28"/>
              <p:cNvSpPr/>
              <p:nvPr/>
            </p:nvSpPr>
            <p:spPr>
              <a:xfrm>
                <a:off x="8010904" y="1315319"/>
                <a:ext cx="1477199" cy="307777"/>
              </a:xfrm>
              <a:prstGeom prst="rect">
                <a:avLst/>
              </a:prstGeom>
            </p:spPr>
            <p:txBody>
              <a:bodyPr wrap="none">
                <a:spAutoFit/>
              </a:bodyPr>
              <a:lstStyle/>
              <a:p>
                <a:r>
                  <a:rPr lang="en-US" sz="1400" b="1" dirty="0" smtClean="0">
                    <a:solidFill>
                      <a:schemeClr val="accent2"/>
                    </a:solidFill>
                  </a:rPr>
                  <a:t>REINFORCEMENT</a:t>
                </a:r>
                <a:endParaRPr lang="en-US" sz="1400" b="1" dirty="0">
                  <a:solidFill>
                    <a:schemeClr val="accent2"/>
                  </a:solidFill>
                </a:endParaRPr>
              </a:p>
            </p:txBody>
          </p:sp>
        </p:grpSp>
        <p:sp>
          <p:nvSpPr>
            <p:cNvPr id="35" name="Rounded Rectangle 34"/>
            <p:cNvSpPr/>
            <p:nvPr/>
          </p:nvSpPr>
          <p:spPr>
            <a:xfrm>
              <a:off x="7429122" y="1922388"/>
              <a:ext cx="2168848" cy="1445825"/>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REQUIRED DRIVERS</a:t>
              </a:r>
            </a:p>
            <a:p>
              <a:pPr algn="ctr"/>
              <a:r>
                <a:rPr lang="en-US" sz="1400" dirty="0" smtClean="0"/>
                <a:t>Processes </a:t>
              </a:r>
              <a:r>
                <a:rPr lang="en-US" sz="1400" dirty="0"/>
                <a:t>and systems that reinforce, monitor, encourage, and reward performance or critical behaviors on the </a:t>
              </a:r>
              <a:r>
                <a:rPr lang="en-US" sz="1400" dirty="0" smtClean="0"/>
                <a:t>job</a:t>
              </a:r>
            </a:p>
          </p:txBody>
        </p:sp>
        <p:sp>
          <p:nvSpPr>
            <p:cNvPr id="36" name="Rounded Rectangle 35"/>
            <p:cNvSpPr/>
            <p:nvPr/>
          </p:nvSpPr>
          <p:spPr>
            <a:xfrm>
              <a:off x="7429122" y="3402160"/>
              <a:ext cx="2152712" cy="1445825"/>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REINFORCEMENT GAPS</a:t>
              </a:r>
            </a:p>
            <a:p>
              <a:pPr algn="ctr"/>
              <a:r>
                <a:rPr lang="en-US" sz="1400" dirty="0" smtClean="0"/>
                <a:t>Knowledge</a:t>
              </a:r>
            </a:p>
            <a:p>
              <a:pPr algn="ctr"/>
              <a:r>
                <a:rPr lang="en-US" sz="1400" dirty="0" smtClean="0"/>
                <a:t>Skill</a:t>
              </a:r>
            </a:p>
            <a:p>
              <a:pPr algn="ctr"/>
              <a:r>
                <a:rPr lang="en-US" sz="1400" dirty="0" smtClean="0"/>
                <a:t>Motivation</a:t>
              </a:r>
            </a:p>
            <a:p>
              <a:pPr algn="ctr"/>
              <a:r>
                <a:rPr lang="en-US" sz="1400" dirty="0" smtClean="0"/>
                <a:t>Environment</a:t>
              </a:r>
            </a:p>
            <a:p>
              <a:pPr algn="ctr"/>
              <a:r>
                <a:rPr lang="en-US" sz="1400" dirty="0" smtClean="0"/>
                <a:t>Communication</a:t>
              </a:r>
            </a:p>
          </p:txBody>
        </p:sp>
      </p:grpSp>
      <p:grpSp>
        <p:nvGrpSpPr>
          <p:cNvPr id="49" name="Group 48"/>
          <p:cNvGrpSpPr/>
          <p:nvPr/>
        </p:nvGrpSpPr>
        <p:grpSpPr>
          <a:xfrm>
            <a:off x="45076" y="1060708"/>
            <a:ext cx="2375128" cy="5754831"/>
            <a:chOff x="45076" y="1060708"/>
            <a:chExt cx="2375128" cy="5754831"/>
          </a:xfrm>
        </p:grpSpPr>
        <p:sp>
          <p:nvSpPr>
            <p:cNvPr id="6" name="Rounded Rectangle 5"/>
            <p:cNvSpPr/>
            <p:nvPr/>
          </p:nvSpPr>
          <p:spPr>
            <a:xfrm>
              <a:off x="45076" y="1060708"/>
              <a:ext cx="2375128" cy="575483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endParaRPr lang="en-US" sz="1400" dirty="0"/>
            </a:p>
          </p:txBody>
        </p:sp>
        <p:sp>
          <p:nvSpPr>
            <p:cNvPr id="7" name="Rounded Rectangle 6"/>
            <p:cNvSpPr/>
            <p:nvPr/>
          </p:nvSpPr>
          <p:spPr>
            <a:xfrm>
              <a:off x="152783" y="1897379"/>
              <a:ext cx="2180890" cy="1112991"/>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COMMUNICATE</a:t>
              </a:r>
            </a:p>
            <a:p>
              <a:pPr algn="ctr"/>
              <a:r>
                <a:rPr lang="en-US" sz="1400" dirty="0" smtClean="0"/>
                <a:t>Changes resulting from business process improvements</a:t>
              </a:r>
              <a:endParaRPr lang="en-US" sz="1400" dirty="0"/>
            </a:p>
          </p:txBody>
        </p:sp>
        <p:sp>
          <p:nvSpPr>
            <p:cNvPr id="13" name="Rounded Rectangle 12"/>
            <p:cNvSpPr/>
            <p:nvPr/>
          </p:nvSpPr>
          <p:spPr>
            <a:xfrm>
              <a:off x="152783" y="3064104"/>
              <a:ext cx="2180890" cy="930913"/>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CONFIGURE SYSTEM</a:t>
              </a:r>
            </a:p>
            <a:p>
              <a:pPr algn="ctr"/>
              <a:r>
                <a:rPr lang="en-US" sz="1400" dirty="0"/>
                <a:t>T</a:t>
              </a:r>
              <a:r>
                <a:rPr lang="en-US" sz="1400" dirty="0" smtClean="0"/>
                <a:t>o support business requirements</a:t>
              </a:r>
              <a:endParaRPr lang="en-US" sz="1400" dirty="0"/>
            </a:p>
          </p:txBody>
        </p:sp>
        <p:sp>
          <p:nvSpPr>
            <p:cNvPr id="17" name="Rounded Rectangle 16"/>
            <p:cNvSpPr/>
            <p:nvPr/>
          </p:nvSpPr>
          <p:spPr>
            <a:xfrm>
              <a:off x="152783" y="4081705"/>
              <a:ext cx="2180890" cy="118926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TEST</a:t>
              </a:r>
            </a:p>
            <a:p>
              <a:pPr algn="ctr"/>
              <a:r>
                <a:rPr lang="en-US" sz="1400" dirty="0" smtClean="0"/>
                <a:t>To ensure a production ready system that supports business processes</a:t>
              </a:r>
            </a:p>
          </p:txBody>
        </p:sp>
        <p:grpSp>
          <p:nvGrpSpPr>
            <p:cNvPr id="46" name="Group 45"/>
            <p:cNvGrpSpPr/>
            <p:nvPr/>
          </p:nvGrpSpPr>
          <p:grpSpPr>
            <a:xfrm>
              <a:off x="68899" y="1075434"/>
              <a:ext cx="2203248" cy="694050"/>
              <a:chOff x="68899" y="1075434"/>
              <a:chExt cx="2203248" cy="694050"/>
            </a:xfrm>
          </p:grpSpPr>
          <p:sp>
            <p:nvSpPr>
              <p:cNvPr id="30" name="Rectangle 29"/>
              <p:cNvSpPr/>
              <p:nvPr/>
            </p:nvSpPr>
            <p:spPr>
              <a:xfrm>
                <a:off x="153173" y="1246264"/>
                <a:ext cx="2118974" cy="523220"/>
              </a:xfrm>
              <a:prstGeom prst="rect">
                <a:avLst/>
              </a:prstGeom>
            </p:spPr>
            <p:txBody>
              <a:bodyPr wrap="square">
                <a:spAutoFit/>
              </a:bodyPr>
              <a:lstStyle/>
              <a:p>
                <a:pPr lvl="1" algn="ctr"/>
                <a:r>
                  <a:rPr lang="en-US" sz="1400" b="1" dirty="0">
                    <a:solidFill>
                      <a:schemeClr val="accent2"/>
                    </a:solidFill>
                  </a:rPr>
                  <a:t>BUSINESS PROCESS IMPROVEMENTS</a:t>
                </a:r>
              </a:p>
            </p:txBody>
          </p:sp>
          <p:pic>
            <p:nvPicPr>
              <p:cNvPr id="45" name="Content Placeholder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899" y="1075434"/>
                <a:ext cx="658606" cy="658606"/>
              </a:xfrm>
              <a:prstGeom prst="rect">
                <a:avLst/>
              </a:prstGeom>
            </p:spPr>
          </p:pic>
        </p:grpSp>
      </p:grpSp>
      <p:grpSp>
        <p:nvGrpSpPr>
          <p:cNvPr id="57" name="Group 56"/>
          <p:cNvGrpSpPr/>
          <p:nvPr/>
        </p:nvGrpSpPr>
        <p:grpSpPr>
          <a:xfrm>
            <a:off x="9765313" y="1066223"/>
            <a:ext cx="2375128" cy="5754831"/>
            <a:chOff x="9765313" y="1066223"/>
            <a:chExt cx="2375128" cy="5754831"/>
          </a:xfrm>
        </p:grpSpPr>
        <p:sp>
          <p:nvSpPr>
            <p:cNvPr id="33" name="Rounded Rectangle 32"/>
            <p:cNvSpPr/>
            <p:nvPr/>
          </p:nvSpPr>
          <p:spPr>
            <a:xfrm>
              <a:off x="9765313" y="1066223"/>
              <a:ext cx="2375128" cy="575483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endParaRPr lang="en-US" sz="1400" dirty="0"/>
            </a:p>
          </p:txBody>
        </p:sp>
        <p:grpSp>
          <p:nvGrpSpPr>
            <p:cNvPr id="43" name="Group 42"/>
            <p:cNvGrpSpPr/>
            <p:nvPr/>
          </p:nvGrpSpPr>
          <p:grpSpPr>
            <a:xfrm>
              <a:off x="9899575" y="1227792"/>
              <a:ext cx="1740585" cy="553091"/>
              <a:chOff x="9899575" y="1227792"/>
              <a:chExt cx="1740585" cy="553091"/>
            </a:xfrm>
          </p:grpSpPr>
          <p:pic>
            <p:nvPicPr>
              <p:cNvPr id="11" name="Picture 10"/>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5300"/>
                        </a14:imgEffect>
                      </a14:imgLayer>
                    </a14:imgProps>
                  </a:ext>
                  <a:ext uri="{28A0092B-C50C-407E-A947-70E740481C1C}">
                    <a14:useLocalDpi xmlns:a14="http://schemas.microsoft.com/office/drawing/2010/main" val="0"/>
                  </a:ext>
                </a:extLst>
              </a:blip>
              <a:stretch>
                <a:fillRect/>
              </a:stretch>
            </p:blipFill>
            <p:spPr>
              <a:xfrm>
                <a:off x="9899575" y="1227792"/>
                <a:ext cx="534619" cy="534619"/>
              </a:xfrm>
              <a:prstGeom prst="rect">
                <a:avLst/>
              </a:prstGeom>
            </p:spPr>
          </p:pic>
          <p:sp>
            <p:nvSpPr>
              <p:cNvPr id="32" name="Rectangle 31"/>
              <p:cNvSpPr/>
              <p:nvPr/>
            </p:nvSpPr>
            <p:spPr>
              <a:xfrm>
                <a:off x="10025322" y="1257663"/>
                <a:ext cx="1614838" cy="523220"/>
              </a:xfrm>
              <a:prstGeom prst="rect">
                <a:avLst/>
              </a:prstGeom>
            </p:spPr>
            <p:txBody>
              <a:bodyPr wrap="square">
                <a:spAutoFit/>
              </a:bodyPr>
              <a:lstStyle/>
              <a:p>
                <a:pPr lvl="1" algn="ctr"/>
                <a:r>
                  <a:rPr lang="en-US" sz="1400" b="1" dirty="0" smtClean="0">
                    <a:solidFill>
                      <a:schemeClr val="accent2"/>
                    </a:solidFill>
                  </a:rPr>
                  <a:t>MEASURING SUCCESS </a:t>
                </a:r>
                <a:endParaRPr lang="en-US" sz="1400" b="1" dirty="0">
                  <a:solidFill>
                    <a:schemeClr val="accent2"/>
                  </a:solidFill>
                </a:endParaRPr>
              </a:p>
            </p:txBody>
          </p:sp>
        </p:grpSp>
        <p:sp>
          <p:nvSpPr>
            <p:cNvPr id="53" name="Rounded Rectangle 52"/>
            <p:cNvSpPr/>
            <p:nvPr/>
          </p:nvSpPr>
          <p:spPr>
            <a:xfrm>
              <a:off x="9898783" y="1935899"/>
              <a:ext cx="2180890" cy="1118206"/>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REACTION</a:t>
              </a:r>
            </a:p>
            <a:p>
              <a:pPr algn="ctr"/>
              <a:r>
                <a:rPr lang="en-US" sz="1400" dirty="0" smtClean="0"/>
                <a:t>How satisfied are trainees</a:t>
              </a:r>
            </a:p>
          </p:txBody>
        </p:sp>
        <p:sp>
          <p:nvSpPr>
            <p:cNvPr id="54" name="Rounded Rectangle 53"/>
            <p:cNvSpPr/>
            <p:nvPr/>
          </p:nvSpPr>
          <p:spPr>
            <a:xfrm>
              <a:off x="9888601" y="3132257"/>
              <a:ext cx="2180890" cy="1118206"/>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LEARNING</a:t>
              </a:r>
            </a:p>
            <a:p>
              <a:pPr algn="ctr"/>
              <a:r>
                <a:rPr lang="en-US" sz="1400" dirty="0" smtClean="0"/>
                <a:t>Were knowledge and skills increased</a:t>
              </a:r>
            </a:p>
          </p:txBody>
        </p:sp>
        <p:sp>
          <p:nvSpPr>
            <p:cNvPr id="55" name="Rounded Rectangle 54"/>
            <p:cNvSpPr/>
            <p:nvPr/>
          </p:nvSpPr>
          <p:spPr>
            <a:xfrm>
              <a:off x="9898783" y="4328615"/>
              <a:ext cx="2180890" cy="1118206"/>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BEHAVIOR</a:t>
              </a:r>
            </a:p>
            <a:p>
              <a:pPr algn="ctr"/>
              <a:r>
                <a:rPr lang="en-US" sz="1400" dirty="0" smtClean="0"/>
                <a:t>Are trainees utilizing what was learned when on the job</a:t>
              </a:r>
            </a:p>
          </p:txBody>
        </p:sp>
        <p:sp>
          <p:nvSpPr>
            <p:cNvPr id="56" name="Rounded Rectangle 55"/>
            <p:cNvSpPr/>
            <p:nvPr/>
          </p:nvSpPr>
          <p:spPr>
            <a:xfrm>
              <a:off x="9898783" y="5497562"/>
              <a:ext cx="2180890" cy="1118206"/>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ORGANIZATIONAL PERFORMANCE</a:t>
              </a:r>
            </a:p>
            <a:p>
              <a:pPr algn="ctr"/>
              <a:r>
                <a:rPr lang="en-US" sz="1400" dirty="0" smtClean="0"/>
                <a:t>Were organizational goals achieved</a:t>
              </a:r>
            </a:p>
          </p:txBody>
        </p:sp>
      </p:grpSp>
    </p:spTree>
    <p:extLst>
      <p:ext uri="{BB962C8B-B14F-4D97-AF65-F5344CB8AC3E}">
        <p14:creationId xmlns:p14="http://schemas.microsoft.com/office/powerpoint/2010/main" val="14134286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ing for Change</a:t>
            </a:r>
            <a:endParaRPr lang="en-US" dirty="0"/>
          </a:p>
        </p:txBody>
      </p:sp>
      <p:graphicFrame>
        <p:nvGraphicFramePr>
          <p:cNvPr id="3" name="Diagram 2"/>
          <p:cNvGraphicFramePr/>
          <p:nvPr>
            <p:extLst/>
          </p:nvPr>
        </p:nvGraphicFramePr>
        <p:xfrm>
          <a:off x="1754022" y="1217100"/>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91240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886B9EE3-E95D-4D7A-90A1-66CAB81C0BB4}"/>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graphicEl>
                                              <a:dgm id="{103FCC06-210A-4091-B215-AA188DC41420}"/>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graphicEl>
                                              <a:dgm id="{1574C18B-046A-4134-9478-6434EB41FFE2}"/>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graphicEl>
                                              <a:dgm id="{C1F2DB7A-173E-437E-B5EF-D3BA83F5FD56}"/>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graphicEl>
                                              <a:dgm id="{B42CF06B-22B1-41C9-93AC-0C673E4CA534}"/>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graphicEl>
                                              <a:dgm id="{4E044F43-B374-4DE1-8001-6FF5DBB98984}"/>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graphicEl>
                                              <a:dgm id="{32CB3AA1-1CDC-4D46-9469-325E67AFD2EE}"/>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graphicEl>
                                              <a:dgm id="{6C63AC14-8BED-43B3-8C2E-BF08FB985070}"/>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graphicEl>
                                              <a:dgm id="{908F8CA7-C2BD-4E3E-88B6-321D3F994D64}"/>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graphicEl>
                                              <a:dgm id="{1E295106-F712-45CC-A450-CD8CB7570618}"/>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graphicEl>
                                              <a:dgm id="{1AAECC49-D021-45F8-B7C5-06A7EB15FBB4}"/>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graphicEl>
                                              <a:dgm id="{5AF73783-3255-4D45-B9B3-FDF50674109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uiExpand="1">
        <p:bldSub>
          <a:bldDgm bld="lvlOne"/>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Kuali</a:t>
            </a:r>
            <a:r>
              <a:rPr lang="en-US" dirty="0" smtClean="0"/>
              <a:t> Research (KR) Project Scope</a:t>
            </a:r>
            <a:endParaRPr lang="en-US" dirty="0"/>
          </a:p>
        </p:txBody>
      </p:sp>
      <p:sp>
        <p:nvSpPr>
          <p:cNvPr id="10" name="Rounded Rectangle 9"/>
          <p:cNvSpPr/>
          <p:nvPr/>
        </p:nvSpPr>
        <p:spPr>
          <a:xfrm>
            <a:off x="543697" y="1717593"/>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9" name="Rounded Rectangle 28"/>
          <p:cNvSpPr/>
          <p:nvPr/>
        </p:nvSpPr>
        <p:spPr>
          <a:xfrm>
            <a:off x="543697" y="2364264"/>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0" name="Rounded Rectangle 29"/>
          <p:cNvSpPr/>
          <p:nvPr/>
        </p:nvSpPr>
        <p:spPr>
          <a:xfrm>
            <a:off x="543697" y="3010935"/>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1" name="Rounded Rectangle 30"/>
          <p:cNvSpPr/>
          <p:nvPr/>
        </p:nvSpPr>
        <p:spPr>
          <a:xfrm>
            <a:off x="543697" y="3657606"/>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3" name="Rounded Rectangle 32"/>
          <p:cNvSpPr/>
          <p:nvPr/>
        </p:nvSpPr>
        <p:spPr>
          <a:xfrm>
            <a:off x="543697" y="4304277"/>
            <a:ext cx="4176584" cy="56017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5" name="Rounded Rectangle 34"/>
          <p:cNvSpPr/>
          <p:nvPr/>
        </p:nvSpPr>
        <p:spPr>
          <a:xfrm>
            <a:off x="543697" y="4950948"/>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6" name="Rounded Rectangle 35"/>
          <p:cNvSpPr/>
          <p:nvPr/>
        </p:nvSpPr>
        <p:spPr>
          <a:xfrm>
            <a:off x="543697" y="5605856"/>
            <a:ext cx="4176584" cy="5601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2" name="TextBox 11"/>
          <p:cNvSpPr txBox="1"/>
          <p:nvPr/>
        </p:nvSpPr>
        <p:spPr>
          <a:xfrm>
            <a:off x="551933" y="1841161"/>
            <a:ext cx="3146854" cy="369332"/>
          </a:xfrm>
          <a:prstGeom prst="rect">
            <a:avLst/>
          </a:prstGeom>
          <a:noFill/>
        </p:spPr>
        <p:txBody>
          <a:bodyPr wrap="square" rtlCol="0">
            <a:spAutoFit/>
          </a:bodyPr>
          <a:lstStyle/>
          <a:p>
            <a:r>
              <a:rPr lang="en-US" dirty="0" smtClean="0">
                <a:solidFill>
                  <a:schemeClr val="bg1"/>
                </a:solidFill>
              </a:rPr>
              <a:t>Data and Analytics</a:t>
            </a:r>
            <a:endParaRPr lang="en-US" dirty="0">
              <a:solidFill>
                <a:schemeClr val="bg1"/>
              </a:solidFill>
            </a:endParaRPr>
          </a:p>
        </p:txBody>
      </p:sp>
      <p:sp>
        <p:nvSpPr>
          <p:cNvPr id="38" name="TextBox 37"/>
          <p:cNvSpPr txBox="1"/>
          <p:nvPr/>
        </p:nvSpPr>
        <p:spPr>
          <a:xfrm>
            <a:off x="551933" y="2450760"/>
            <a:ext cx="3657600" cy="369332"/>
          </a:xfrm>
          <a:prstGeom prst="rect">
            <a:avLst/>
          </a:prstGeom>
          <a:noFill/>
        </p:spPr>
        <p:txBody>
          <a:bodyPr wrap="square" rtlCol="0">
            <a:spAutoFit/>
          </a:bodyPr>
          <a:lstStyle/>
          <a:p>
            <a:r>
              <a:rPr lang="en-US" dirty="0" smtClean="0">
                <a:solidFill>
                  <a:schemeClr val="bg1"/>
                </a:solidFill>
              </a:rPr>
              <a:t>Facilities Information Management</a:t>
            </a:r>
            <a:endParaRPr lang="en-US" dirty="0">
              <a:solidFill>
                <a:schemeClr val="bg1"/>
              </a:solidFill>
            </a:endParaRPr>
          </a:p>
        </p:txBody>
      </p:sp>
      <p:sp>
        <p:nvSpPr>
          <p:cNvPr id="40" name="TextBox 39"/>
          <p:cNvSpPr txBox="1"/>
          <p:nvPr/>
        </p:nvSpPr>
        <p:spPr>
          <a:xfrm>
            <a:off x="551933" y="3090567"/>
            <a:ext cx="3657600" cy="369332"/>
          </a:xfrm>
          <a:prstGeom prst="rect">
            <a:avLst/>
          </a:prstGeom>
          <a:noFill/>
        </p:spPr>
        <p:txBody>
          <a:bodyPr wrap="square" rtlCol="0">
            <a:spAutoFit/>
          </a:bodyPr>
          <a:lstStyle/>
          <a:p>
            <a:r>
              <a:rPr lang="en-US" dirty="0" smtClean="0">
                <a:solidFill>
                  <a:schemeClr val="bg1"/>
                </a:solidFill>
              </a:rPr>
              <a:t>Financial Information Systems</a:t>
            </a:r>
            <a:endParaRPr lang="en-US" dirty="0">
              <a:solidFill>
                <a:schemeClr val="bg1"/>
              </a:solidFill>
            </a:endParaRPr>
          </a:p>
        </p:txBody>
      </p:sp>
      <p:sp>
        <p:nvSpPr>
          <p:cNvPr id="42" name="TextBox 41"/>
          <p:cNvSpPr txBox="1"/>
          <p:nvPr/>
        </p:nvSpPr>
        <p:spPr>
          <a:xfrm>
            <a:off x="551933" y="3762634"/>
            <a:ext cx="3657600" cy="369332"/>
          </a:xfrm>
          <a:prstGeom prst="rect">
            <a:avLst/>
          </a:prstGeom>
          <a:noFill/>
        </p:spPr>
        <p:txBody>
          <a:bodyPr wrap="square" rtlCol="0">
            <a:spAutoFit/>
          </a:bodyPr>
          <a:lstStyle/>
          <a:p>
            <a:r>
              <a:rPr lang="en-US" dirty="0" smtClean="0">
                <a:solidFill>
                  <a:schemeClr val="bg1"/>
                </a:solidFill>
              </a:rPr>
              <a:t>Human Resources and Payroll</a:t>
            </a:r>
            <a:endParaRPr lang="en-US" dirty="0">
              <a:solidFill>
                <a:schemeClr val="bg1"/>
              </a:solidFill>
            </a:endParaRPr>
          </a:p>
        </p:txBody>
      </p:sp>
      <p:sp>
        <p:nvSpPr>
          <p:cNvPr id="43" name="TextBox 42"/>
          <p:cNvSpPr txBox="1"/>
          <p:nvPr/>
        </p:nvSpPr>
        <p:spPr>
          <a:xfrm>
            <a:off x="543697" y="4415827"/>
            <a:ext cx="3657600" cy="369332"/>
          </a:xfrm>
          <a:prstGeom prst="rect">
            <a:avLst/>
          </a:prstGeom>
          <a:noFill/>
        </p:spPr>
        <p:txBody>
          <a:bodyPr wrap="square" rtlCol="0">
            <a:spAutoFit/>
          </a:bodyPr>
          <a:lstStyle/>
          <a:p>
            <a:r>
              <a:rPr lang="en-US" dirty="0" smtClean="0">
                <a:solidFill>
                  <a:schemeClr val="bg1"/>
                </a:solidFill>
              </a:rPr>
              <a:t>Research Administration Systems</a:t>
            </a:r>
            <a:endParaRPr lang="en-US" dirty="0">
              <a:solidFill>
                <a:schemeClr val="bg1"/>
              </a:solidFill>
            </a:endParaRPr>
          </a:p>
        </p:txBody>
      </p:sp>
      <p:sp>
        <p:nvSpPr>
          <p:cNvPr id="44" name="TextBox 43"/>
          <p:cNvSpPr txBox="1"/>
          <p:nvPr/>
        </p:nvSpPr>
        <p:spPr>
          <a:xfrm>
            <a:off x="551933" y="5069020"/>
            <a:ext cx="4168348" cy="369332"/>
          </a:xfrm>
          <a:prstGeom prst="rect">
            <a:avLst/>
          </a:prstGeom>
          <a:noFill/>
        </p:spPr>
        <p:txBody>
          <a:bodyPr wrap="square" rtlCol="0">
            <a:spAutoFit/>
          </a:bodyPr>
          <a:lstStyle/>
          <a:p>
            <a:r>
              <a:rPr lang="en-US" dirty="0" smtClean="0">
                <a:solidFill>
                  <a:schemeClr val="bg1"/>
                </a:solidFill>
              </a:rPr>
              <a:t>Student and Faculty Information Systems</a:t>
            </a:r>
            <a:endParaRPr lang="en-US" dirty="0">
              <a:solidFill>
                <a:schemeClr val="bg1"/>
              </a:solidFill>
            </a:endParaRPr>
          </a:p>
        </p:txBody>
      </p:sp>
      <p:sp>
        <p:nvSpPr>
          <p:cNvPr id="45" name="TextBox 44"/>
          <p:cNvSpPr txBox="1"/>
          <p:nvPr/>
        </p:nvSpPr>
        <p:spPr>
          <a:xfrm>
            <a:off x="560169" y="5694584"/>
            <a:ext cx="3657600" cy="369332"/>
          </a:xfrm>
          <a:prstGeom prst="rect">
            <a:avLst/>
          </a:prstGeom>
          <a:noFill/>
        </p:spPr>
        <p:txBody>
          <a:bodyPr wrap="square" rtlCol="0">
            <a:spAutoFit/>
          </a:bodyPr>
          <a:lstStyle/>
          <a:p>
            <a:r>
              <a:rPr lang="en-US" dirty="0" smtClean="0">
                <a:solidFill>
                  <a:schemeClr val="bg1"/>
                </a:solidFill>
              </a:rPr>
              <a:t>Supporting Technology Infrastructure</a:t>
            </a:r>
            <a:endParaRPr lang="en-US" dirty="0">
              <a:solidFill>
                <a:schemeClr val="bg1"/>
              </a:solidFill>
            </a:endParaRPr>
          </a:p>
        </p:txBody>
      </p:sp>
      <p:sp>
        <p:nvSpPr>
          <p:cNvPr id="25" name="TextBox 24"/>
          <p:cNvSpPr txBox="1"/>
          <p:nvPr/>
        </p:nvSpPr>
        <p:spPr>
          <a:xfrm>
            <a:off x="413646" y="1341396"/>
            <a:ext cx="4468993" cy="369332"/>
          </a:xfrm>
          <a:prstGeom prst="rect">
            <a:avLst/>
          </a:prstGeom>
          <a:noFill/>
        </p:spPr>
        <p:txBody>
          <a:bodyPr wrap="square" rtlCol="0">
            <a:spAutoFit/>
          </a:bodyPr>
          <a:lstStyle/>
          <a:p>
            <a:pPr algn="ctr"/>
            <a:r>
              <a:rPr lang="en-US" b="1" dirty="0" smtClean="0">
                <a:solidFill>
                  <a:schemeClr val="accent2"/>
                </a:solidFill>
              </a:rPr>
              <a:t>ENTERPRISE SYSTEMS RENEWAL PROJECTS</a:t>
            </a:r>
            <a:endParaRPr lang="en-US" b="1" dirty="0">
              <a:solidFill>
                <a:schemeClr val="accent2"/>
              </a:solidFill>
            </a:endParaRPr>
          </a:p>
        </p:txBody>
      </p:sp>
      <p:grpSp>
        <p:nvGrpSpPr>
          <p:cNvPr id="11" name="Group 10"/>
          <p:cNvGrpSpPr/>
          <p:nvPr/>
        </p:nvGrpSpPr>
        <p:grpSpPr>
          <a:xfrm>
            <a:off x="4720281" y="1341396"/>
            <a:ext cx="6722076" cy="4991310"/>
            <a:chOff x="4720281" y="1341396"/>
            <a:chExt cx="6722076" cy="4991310"/>
          </a:xfrm>
        </p:grpSpPr>
        <p:grpSp>
          <p:nvGrpSpPr>
            <p:cNvPr id="9" name="Group 8"/>
            <p:cNvGrpSpPr/>
            <p:nvPr/>
          </p:nvGrpSpPr>
          <p:grpSpPr>
            <a:xfrm>
              <a:off x="4720281" y="1341396"/>
              <a:ext cx="6722076" cy="4991310"/>
              <a:chOff x="4720281" y="1341396"/>
              <a:chExt cx="6722076" cy="4991310"/>
            </a:xfrm>
          </p:grpSpPr>
          <p:grpSp>
            <p:nvGrpSpPr>
              <p:cNvPr id="6" name="Group 5"/>
              <p:cNvGrpSpPr/>
              <p:nvPr/>
            </p:nvGrpSpPr>
            <p:grpSpPr>
              <a:xfrm>
                <a:off x="4720281" y="1341396"/>
                <a:ext cx="6722076" cy="4991310"/>
                <a:chOff x="4720281" y="1341396"/>
                <a:chExt cx="6722076" cy="4991310"/>
              </a:xfrm>
            </p:grpSpPr>
            <p:cxnSp>
              <p:nvCxnSpPr>
                <p:cNvPr id="14" name="Straight Connector 13"/>
                <p:cNvCxnSpPr>
                  <a:stCxn id="33" idx="3"/>
                </p:cNvCxnSpPr>
                <p:nvPr/>
              </p:nvCxnSpPr>
              <p:spPr>
                <a:xfrm flipV="1">
                  <a:off x="4720281" y="4576123"/>
                  <a:ext cx="1705233" cy="8241"/>
                </a:xfrm>
                <a:prstGeom prst="line">
                  <a:avLst/>
                </a:prstGeom>
              </p:spPr>
              <p:style>
                <a:lnRef idx="3">
                  <a:schemeClr val="accent2"/>
                </a:lnRef>
                <a:fillRef idx="0">
                  <a:schemeClr val="accent2"/>
                </a:fillRef>
                <a:effectRef idx="2">
                  <a:schemeClr val="accent2"/>
                </a:effectRef>
                <a:fontRef idx="minor">
                  <a:schemeClr val="tx1"/>
                </a:fontRef>
              </p:style>
            </p:cxnSp>
            <p:grpSp>
              <p:nvGrpSpPr>
                <p:cNvPr id="5" name="Group 4"/>
                <p:cNvGrpSpPr/>
                <p:nvPr/>
              </p:nvGrpSpPr>
              <p:grpSpPr>
                <a:xfrm>
                  <a:off x="6425514" y="1341396"/>
                  <a:ext cx="5016843" cy="4991310"/>
                  <a:chOff x="6425514" y="1341396"/>
                  <a:chExt cx="5016843" cy="4991310"/>
                </a:xfrm>
              </p:grpSpPr>
              <p:sp>
                <p:nvSpPr>
                  <p:cNvPr id="15" name="Rounded Rectangle 14"/>
                  <p:cNvSpPr/>
                  <p:nvPr/>
                </p:nvSpPr>
                <p:spPr>
                  <a:xfrm>
                    <a:off x="6425514" y="1341396"/>
                    <a:ext cx="5016843" cy="4991310"/>
                  </a:xfrm>
                  <a:prstGeom prst="roundRect">
                    <a:avLst/>
                  </a:prstGeom>
                  <a:solidFill>
                    <a:schemeClr val="tx1">
                      <a:lumMod val="60000"/>
                      <a:lumOff val="40000"/>
                      <a:alpha val="52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366120" y="2214885"/>
                    <a:ext cx="2965836" cy="1477328"/>
                  </a:xfrm>
                  <a:prstGeom prst="rect">
                    <a:avLst/>
                  </a:prstGeom>
                  <a:noFill/>
                </p:spPr>
                <p:txBody>
                  <a:bodyPr wrap="square" rtlCol="0">
                    <a:spAutoFit/>
                  </a:bodyPr>
                  <a:lstStyle/>
                  <a:p>
                    <a:r>
                      <a:rPr lang="en-US" b="1" dirty="0" smtClean="0">
                        <a:solidFill>
                          <a:schemeClr val="accent2"/>
                        </a:solidFill>
                      </a:rPr>
                      <a:t>Pre-Award</a:t>
                    </a:r>
                  </a:p>
                  <a:p>
                    <a:pPr marL="285750" indent="-285750">
                      <a:buFont typeface="Arial" panose="020B0604020202020204" pitchFamily="34" charset="0"/>
                      <a:buChar char="•"/>
                    </a:pPr>
                    <a:r>
                      <a:rPr lang="en-US" dirty="0" smtClean="0">
                        <a:solidFill>
                          <a:schemeClr val="accent2"/>
                        </a:solidFill>
                      </a:rPr>
                      <a:t>Proposal Development</a:t>
                    </a:r>
                  </a:p>
                  <a:p>
                    <a:pPr marL="285750" indent="-285750">
                      <a:buFont typeface="Arial" panose="020B0604020202020204" pitchFamily="34" charset="0"/>
                      <a:buChar char="•"/>
                    </a:pPr>
                    <a:r>
                      <a:rPr lang="en-US" dirty="0" smtClean="0">
                        <a:solidFill>
                          <a:schemeClr val="accent2"/>
                        </a:solidFill>
                      </a:rPr>
                      <a:t>Institutional Proposal</a:t>
                    </a:r>
                  </a:p>
                  <a:p>
                    <a:pPr marL="285750" indent="-285750">
                      <a:buFont typeface="Arial" panose="020B0604020202020204" pitchFamily="34" charset="0"/>
                      <a:buChar char="•"/>
                    </a:pPr>
                    <a:r>
                      <a:rPr lang="en-US" dirty="0" smtClean="0">
                        <a:solidFill>
                          <a:schemeClr val="accent2"/>
                        </a:solidFill>
                      </a:rPr>
                      <a:t>Negotiations *new*</a:t>
                    </a:r>
                  </a:p>
                  <a:p>
                    <a:endParaRPr lang="en-US" dirty="0" smtClean="0">
                      <a:solidFill>
                        <a:schemeClr val="accent2">
                          <a:lumMod val="75000"/>
                        </a:schemeClr>
                      </a:solidFill>
                    </a:endParaRPr>
                  </a:p>
                </p:txBody>
              </p:sp>
              <p:sp>
                <p:nvSpPr>
                  <p:cNvPr id="16" name="Rectangle 15"/>
                  <p:cNvSpPr/>
                  <p:nvPr/>
                </p:nvSpPr>
                <p:spPr>
                  <a:xfrm>
                    <a:off x="7360508" y="3598951"/>
                    <a:ext cx="2573206" cy="923330"/>
                  </a:xfrm>
                  <a:prstGeom prst="rect">
                    <a:avLst/>
                  </a:prstGeom>
                </p:spPr>
                <p:txBody>
                  <a:bodyPr wrap="square">
                    <a:spAutoFit/>
                  </a:bodyPr>
                  <a:lstStyle/>
                  <a:p>
                    <a:r>
                      <a:rPr lang="en-US" b="1" dirty="0">
                        <a:solidFill>
                          <a:schemeClr val="accent2"/>
                        </a:solidFill>
                      </a:rPr>
                      <a:t>Post-Award</a:t>
                    </a:r>
                  </a:p>
                  <a:p>
                    <a:pPr marL="285750" indent="-285750">
                      <a:buFont typeface="Arial" panose="020B0604020202020204" pitchFamily="34" charset="0"/>
                      <a:buChar char="•"/>
                    </a:pPr>
                    <a:r>
                      <a:rPr lang="en-US" dirty="0">
                        <a:solidFill>
                          <a:schemeClr val="accent2"/>
                        </a:solidFill>
                      </a:rPr>
                      <a:t>Awards</a:t>
                    </a:r>
                  </a:p>
                  <a:p>
                    <a:pPr marL="285750" indent="-285750">
                      <a:buFont typeface="Arial" panose="020B0604020202020204" pitchFamily="34" charset="0"/>
                      <a:buChar char="•"/>
                    </a:pPr>
                    <a:r>
                      <a:rPr lang="en-US" dirty="0" smtClean="0">
                        <a:solidFill>
                          <a:schemeClr val="accent2"/>
                        </a:solidFill>
                      </a:rPr>
                      <a:t>Subawards *new*</a:t>
                    </a:r>
                    <a:endParaRPr lang="en-US" dirty="0">
                      <a:solidFill>
                        <a:schemeClr val="accent2"/>
                      </a:solidFill>
                    </a:endParaRPr>
                  </a:p>
                </p:txBody>
              </p:sp>
              <p:sp>
                <p:nvSpPr>
                  <p:cNvPr id="17" name="Rectangle 16"/>
                  <p:cNvSpPr/>
                  <p:nvPr/>
                </p:nvSpPr>
                <p:spPr>
                  <a:xfrm>
                    <a:off x="7360508" y="2196913"/>
                    <a:ext cx="3317324" cy="13035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7360508" y="3567727"/>
                    <a:ext cx="3317324" cy="103292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p:cNvGrpSpPr/>
                  <p:nvPr/>
                </p:nvGrpSpPr>
                <p:grpSpPr>
                  <a:xfrm>
                    <a:off x="7208196" y="1475006"/>
                    <a:ext cx="3299166" cy="736293"/>
                    <a:chOff x="7208196" y="1475006"/>
                    <a:chExt cx="3299166" cy="736293"/>
                  </a:xfrm>
                </p:grpSpPr>
                <p:sp>
                  <p:nvSpPr>
                    <p:cNvPr id="18" name="TextBox 17"/>
                    <p:cNvSpPr txBox="1"/>
                    <p:nvPr/>
                  </p:nvSpPr>
                  <p:spPr>
                    <a:xfrm>
                      <a:off x="7208196" y="1841967"/>
                      <a:ext cx="3281683" cy="369332"/>
                    </a:xfrm>
                    <a:prstGeom prst="rect">
                      <a:avLst/>
                    </a:prstGeom>
                    <a:noFill/>
                  </p:spPr>
                  <p:txBody>
                    <a:bodyPr wrap="square" rtlCol="0">
                      <a:spAutoFit/>
                    </a:bodyPr>
                    <a:lstStyle/>
                    <a:p>
                      <a:pPr algn="ctr"/>
                      <a:r>
                        <a:rPr lang="en-US" b="1" dirty="0" smtClean="0">
                          <a:solidFill>
                            <a:schemeClr val="accent2"/>
                          </a:solidFill>
                        </a:rPr>
                        <a:t>Sponsored Programs Modules</a:t>
                      </a:r>
                      <a:endParaRPr lang="en-US" b="1" dirty="0">
                        <a:solidFill>
                          <a:schemeClr val="accent2"/>
                        </a:solidFill>
                      </a:endParaRPr>
                    </a:p>
                  </p:txBody>
                </p:sp>
                <p:sp>
                  <p:nvSpPr>
                    <p:cNvPr id="26" name="TextBox 25"/>
                    <p:cNvSpPr txBox="1"/>
                    <p:nvPr/>
                  </p:nvSpPr>
                  <p:spPr>
                    <a:xfrm>
                      <a:off x="7360508" y="1475006"/>
                      <a:ext cx="3146854" cy="369332"/>
                    </a:xfrm>
                    <a:prstGeom prst="rect">
                      <a:avLst/>
                    </a:prstGeom>
                    <a:noFill/>
                  </p:spPr>
                  <p:txBody>
                    <a:bodyPr wrap="square" rtlCol="0">
                      <a:spAutoFit/>
                    </a:bodyPr>
                    <a:lstStyle/>
                    <a:p>
                      <a:pPr algn="ctr"/>
                      <a:r>
                        <a:rPr lang="en-US" b="1" dirty="0" err="1" smtClean="0">
                          <a:solidFill>
                            <a:schemeClr val="accent2"/>
                          </a:solidFill>
                        </a:rPr>
                        <a:t>Kuali</a:t>
                      </a:r>
                      <a:r>
                        <a:rPr lang="en-US" b="1" dirty="0" smtClean="0">
                          <a:solidFill>
                            <a:schemeClr val="accent2"/>
                          </a:solidFill>
                        </a:rPr>
                        <a:t> Projects</a:t>
                      </a:r>
                      <a:endParaRPr lang="en-US" b="1" dirty="0">
                        <a:solidFill>
                          <a:schemeClr val="accent2"/>
                        </a:solidFill>
                      </a:endParaRPr>
                    </a:p>
                  </p:txBody>
                </p:sp>
              </p:grpSp>
            </p:grpSp>
          </p:grpSp>
          <p:sp>
            <p:nvSpPr>
              <p:cNvPr id="32" name="Rectangle 31"/>
              <p:cNvSpPr/>
              <p:nvPr/>
            </p:nvSpPr>
            <p:spPr>
              <a:xfrm>
                <a:off x="7360508" y="5552521"/>
                <a:ext cx="3317324" cy="5480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332199" y="5670993"/>
                <a:ext cx="3650524" cy="369332"/>
              </a:xfrm>
              <a:prstGeom prst="rect">
                <a:avLst/>
              </a:prstGeom>
            </p:spPr>
            <p:txBody>
              <a:bodyPr wrap="square">
                <a:spAutoFit/>
              </a:bodyPr>
              <a:lstStyle/>
              <a:p>
                <a:pPr marL="285750" indent="-285750">
                  <a:buFont typeface="Arial" panose="020B0604020202020204" pitchFamily="34" charset="0"/>
                  <a:buChar char="•"/>
                </a:pPr>
                <a:r>
                  <a:rPr lang="en-US" dirty="0" smtClean="0">
                    <a:solidFill>
                      <a:schemeClr val="accent2"/>
                    </a:solidFill>
                  </a:rPr>
                  <a:t>Institutional Review Board (IRB)</a:t>
                </a:r>
              </a:p>
            </p:txBody>
          </p:sp>
          <p:sp>
            <p:nvSpPr>
              <p:cNvPr id="8" name="Rectangle 7"/>
              <p:cNvSpPr/>
              <p:nvPr/>
            </p:nvSpPr>
            <p:spPr>
              <a:xfrm>
                <a:off x="7302703" y="5243631"/>
                <a:ext cx="1874424" cy="369332"/>
              </a:xfrm>
              <a:prstGeom prst="rect">
                <a:avLst/>
              </a:prstGeom>
            </p:spPr>
            <p:txBody>
              <a:bodyPr wrap="none">
                <a:spAutoFit/>
              </a:bodyPr>
              <a:lstStyle/>
              <a:p>
                <a:r>
                  <a:rPr lang="en-US" b="1" dirty="0" smtClean="0">
                    <a:solidFill>
                      <a:schemeClr val="accent2"/>
                    </a:solidFill>
                  </a:rPr>
                  <a:t>Protocols Module</a:t>
                </a:r>
                <a:endParaRPr lang="en-US" b="1" dirty="0">
                  <a:solidFill>
                    <a:schemeClr val="accent2"/>
                  </a:solidFill>
                </a:endParaRPr>
              </a:p>
            </p:txBody>
          </p:sp>
        </p:grpSp>
        <p:grpSp>
          <p:nvGrpSpPr>
            <p:cNvPr id="2" name="Group 1"/>
            <p:cNvGrpSpPr/>
            <p:nvPr/>
          </p:nvGrpSpPr>
          <p:grpSpPr>
            <a:xfrm>
              <a:off x="7360508" y="4673707"/>
              <a:ext cx="3650524" cy="548085"/>
              <a:chOff x="7360508" y="4673707"/>
              <a:chExt cx="3650524" cy="548085"/>
            </a:xfrm>
          </p:grpSpPr>
          <p:sp>
            <p:nvSpPr>
              <p:cNvPr id="34" name="Rectangle 33"/>
              <p:cNvSpPr/>
              <p:nvPr/>
            </p:nvSpPr>
            <p:spPr>
              <a:xfrm>
                <a:off x="7360508" y="4726917"/>
                <a:ext cx="3650524" cy="369332"/>
              </a:xfrm>
              <a:prstGeom prst="rect">
                <a:avLst/>
              </a:prstGeom>
            </p:spPr>
            <p:txBody>
              <a:bodyPr wrap="square">
                <a:spAutoFit/>
              </a:bodyPr>
              <a:lstStyle/>
              <a:p>
                <a:pPr marL="285750" indent="-285750">
                  <a:buFont typeface="Arial" panose="020B0604020202020204" pitchFamily="34" charset="0"/>
                  <a:buChar char="•"/>
                </a:pPr>
                <a:r>
                  <a:rPr lang="en-US" dirty="0" smtClean="0">
                    <a:solidFill>
                      <a:schemeClr val="accent2"/>
                    </a:solidFill>
                  </a:rPr>
                  <a:t>Conflict of Interest (COI)</a:t>
                </a:r>
                <a:endParaRPr lang="en-US" dirty="0">
                  <a:solidFill>
                    <a:schemeClr val="accent2"/>
                  </a:solidFill>
                </a:endParaRPr>
              </a:p>
            </p:txBody>
          </p:sp>
          <p:sp>
            <p:nvSpPr>
              <p:cNvPr id="37" name="Rectangle 36"/>
              <p:cNvSpPr/>
              <p:nvPr/>
            </p:nvSpPr>
            <p:spPr>
              <a:xfrm>
                <a:off x="7360508" y="4673707"/>
                <a:ext cx="3317324" cy="5480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071595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071723543"/>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Robust end user training </a:t>
            </a:r>
          </a:p>
        </p:txBody>
      </p:sp>
      <p:sp>
        <p:nvSpPr>
          <p:cNvPr id="4" name="Slide Number Placeholder 3"/>
          <p:cNvSpPr>
            <a:spLocks noGrp="1"/>
          </p:cNvSpPr>
          <p:nvPr>
            <p:ph type="sldNum" sz="quarter" idx="12"/>
          </p:nvPr>
        </p:nvSpPr>
        <p:spPr/>
        <p:txBody>
          <a:bodyPr/>
          <a:lstStyle/>
          <a:p>
            <a:fld id="{D0A8BD7E-3FB1-46E0-88A2-F69CF9BE5AD3}" type="slidenum">
              <a:rPr lang="en-US" smtClean="0"/>
              <a:pPr/>
              <a:t>30</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Transition</a:t>
            </a:r>
            <a:endParaRPr lang="en-US" dirty="0"/>
          </a:p>
        </p:txBody>
      </p:sp>
      <p:sp>
        <p:nvSpPr>
          <p:cNvPr id="6" name="TextBox 5"/>
          <p:cNvSpPr txBox="1"/>
          <p:nvPr/>
        </p:nvSpPr>
        <p:spPr>
          <a:xfrm>
            <a:off x="6400800" y="5503789"/>
            <a:ext cx="1384938" cy="253916"/>
          </a:xfrm>
          <a:prstGeom prst="rect">
            <a:avLst/>
          </a:prstGeom>
          <a:noFill/>
        </p:spPr>
        <p:txBody>
          <a:bodyPr wrap="square" rtlCol="0">
            <a:spAutoFit/>
          </a:bodyPr>
          <a:lstStyle/>
          <a:p>
            <a:pPr algn="ctr"/>
            <a:r>
              <a:rPr lang="en-US" sz="1050" dirty="0" smtClean="0">
                <a:solidFill>
                  <a:srgbClr val="2E75B6"/>
                </a:solidFill>
              </a:rPr>
              <a:t>Dec 2019 </a:t>
            </a:r>
            <a:r>
              <a:rPr lang="en-US" sz="1050" dirty="0">
                <a:solidFill>
                  <a:srgbClr val="2E75B6"/>
                </a:solidFill>
              </a:rPr>
              <a:t>– </a:t>
            </a:r>
            <a:r>
              <a:rPr lang="en-US" sz="1050" dirty="0" smtClean="0">
                <a:solidFill>
                  <a:srgbClr val="2E75B6"/>
                </a:solidFill>
              </a:rPr>
              <a:t>Jan 2020</a:t>
            </a:r>
            <a:endParaRPr lang="en-US" sz="1050" dirty="0">
              <a:solidFill>
                <a:srgbClr val="2E75B6"/>
              </a:solidFill>
            </a:endParaRPr>
          </a:p>
        </p:txBody>
      </p:sp>
    </p:spTree>
    <p:extLst>
      <p:ext uri="{BB962C8B-B14F-4D97-AF65-F5344CB8AC3E}">
        <p14:creationId xmlns:p14="http://schemas.microsoft.com/office/powerpoint/2010/main" val="35046953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a:t>
            </a:r>
            <a:endParaRPr lang="en-US" dirty="0"/>
          </a:p>
        </p:txBody>
      </p:sp>
      <p:sp>
        <p:nvSpPr>
          <p:cNvPr id="3" name="Content Placeholder 2"/>
          <p:cNvSpPr>
            <a:spLocks noGrp="1"/>
          </p:cNvSpPr>
          <p:nvPr>
            <p:ph idx="1"/>
          </p:nvPr>
        </p:nvSpPr>
        <p:spPr/>
        <p:txBody>
          <a:bodyPr/>
          <a:lstStyle/>
          <a:p>
            <a:r>
              <a:rPr lang="en-US" dirty="0" smtClean="0"/>
              <a:t>Robust end user training will occur once the system has passed UAT, using a blended learning approach.</a:t>
            </a:r>
          </a:p>
          <a:p>
            <a:endParaRPr lang="en-US" dirty="0"/>
          </a:p>
        </p:txBody>
      </p:sp>
      <p:sp>
        <p:nvSpPr>
          <p:cNvPr id="4" name="Text Placeholder 3"/>
          <p:cNvSpPr>
            <a:spLocks noGrp="1"/>
          </p:cNvSpPr>
          <p:nvPr>
            <p:ph type="body" sz="quarter" idx="13"/>
          </p:nvPr>
        </p:nvSpPr>
        <p:spPr/>
        <p:txBody>
          <a:bodyPr/>
          <a:lstStyle/>
          <a:p>
            <a:r>
              <a:rPr lang="en-US" dirty="0" smtClean="0"/>
              <a:t>Training, Training &amp; More Training</a:t>
            </a:r>
            <a:endParaRPr lang="en-US" dirty="0"/>
          </a:p>
        </p:txBody>
      </p:sp>
      <p:pic>
        <p:nvPicPr>
          <p:cNvPr id="7" name="Picture 6"/>
          <p:cNvPicPr>
            <a:picLocks noChangeAspect="1"/>
          </p:cNvPicPr>
          <p:nvPr/>
        </p:nvPicPr>
        <p:blipFill>
          <a:blip r:embed="rId2"/>
          <a:stretch>
            <a:fillRect/>
          </a:stretch>
        </p:blipFill>
        <p:spPr>
          <a:xfrm>
            <a:off x="4341613" y="2188653"/>
            <a:ext cx="6937774" cy="4574076"/>
          </a:xfrm>
          <a:prstGeom prst="rect">
            <a:avLst/>
          </a:prstGeom>
        </p:spPr>
      </p:pic>
    </p:spTree>
    <p:extLst>
      <p:ext uri="{BB962C8B-B14F-4D97-AF65-F5344CB8AC3E}">
        <p14:creationId xmlns:p14="http://schemas.microsoft.com/office/powerpoint/2010/main" val="6300328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Landscape	</a:t>
            </a:r>
            <a:endParaRPr lang="en-US" dirty="0"/>
          </a:p>
        </p:txBody>
      </p:sp>
      <p:sp>
        <p:nvSpPr>
          <p:cNvPr id="3" name="Content Placeholder 2"/>
          <p:cNvSpPr>
            <a:spLocks noGrp="1"/>
          </p:cNvSpPr>
          <p:nvPr>
            <p:ph idx="1"/>
          </p:nvPr>
        </p:nvSpPr>
        <p:spPr/>
        <p:txBody>
          <a:bodyPr/>
          <a:lstStyle/>
          <a:p>
            <a:endParaRPr lang="en-US" b="1" dirty="0" smtClean="0"/>
          </a:p>
          <a:p>
            <a:r>
              <a:rPr lang="en-US" b="1" dirty="0" smtClean="0"/>
              <a:t>Learning</a:t>
            </a:r>
            <a:r>
              <a:rPr lang="en-US" dirty="0" smtClean="0"/>
              <a:t> – the degree to which participants </a:t>
            </a:r>
            <a:r>
              <a:rPr lang="en-US" b="1" dirty="0" smtClean="0"/>
              <a:t>acquire the intended knowledge, skills and attitudes</a:t>
            </a:r>
            <a:r>
              <a:rPr lang="en-US" dirty="0" smtClean="0"/>
              <a:t> based on their participation in the learning event.</a:t>
            </a:r>
          </a:p>
          <a:p>
            <a:endParaRPr lang="en-US" dirty="0" smtClean="0"/>
          </a:p>
          <a:p>
            <a:r>
              <a:rPr lang="en-US" b="1" dirty="0" smtClean="0"/>
              <a:t>Behavior</a:t>
            </a:r>
            <a:r>
              <a:rPr lang="en-US" dirty="0" smtClean="0"/>
              <a:t> – the degree to which participants </a:t>
            </a:r>
            <a:r>
              <a:rPr lang="en-US" b="1" dirty="0" smtClean="0"/>
              <a:t>apply what they learned </a:t>
            </a:r>
            <a:r>
              <a:rPr lang="en-US" dirty="0" smtClean="0"/>
              <a:t>during</a:t>
            </a:r>
            <a:r>
              <a:rPr lang="en-US" b="1" dirty="0" smtClean="0"/>
              <a:t> </a:t>
            </a:r>
            <a:r>
              <a:rPr lang="en-US" dirty="0" smtClean="0"/>
              <a:t>training when they are back on the job</a:t>
            </a:r>
          </a:p>
        </p:txBody>
      </p:sp>
      <p:sp>
        <p:nvSpPr>
          <p:cNvPr id="4" name="Text Placeholder 3"/>
          <p:cNvSpPr>
            <a:spLocks noGrp="1"/>
          </p:cNvSpPr>
          <p:nvPr>
            <p:ph type="body" sz="quarter" idx="13"/>
          </p:nvPr>
        </p:nvSpPr>
        <p:spPr/>
        <p:txBody>
          <a:bodyPr/>
          <a:lstStyle/>
          <a:p>
            <a:r>
              <a:rPr lang="en-US" dirty="0" smtClean="0"/>
              <a:t>Learning vs. Behavior</a:t>
            </a:r>
            <a:endParaRPr lang="en-US" dirty="0"/>
          </a:p>
        </p:txBody>
      </p:sp>
    </p:spTree>
    <p:extLst>
      <p:ext uri="{BB962C8B-B14F-4D97-AF65-F5344CB8AC3E}">
        <p14:creationId xmlns:p14="http://schemas.microsoft.com/office/powerpoint/2010/main" val="9829853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nvPr>
        </p:nvGraphicFramePr>
        <p:xfrm>
          <a:off x="166255" y="3591917"/>
          <a:ext cx="11698673" cy="2730216"/>
        </p:xfrm>
        <a:graphic>
          <a:graphicData uri="http://schemas.openxmlformats.org/drawingml/2006/table">
            <a:tbl>
              <a:tblPr firstRow="1" bandRow="1">
                <a:tableStyleId>{85BE263C-DBD7-4A20-BB59-AAB30ACAA65A}</a:tableStyleId>
              </a:tblPr>
              <a:tblGrid>
                <a:gridCol w="1551501">
                  <a:extLst>
                    <a:ext uri="{9D8B030D-6E8A-4147-A177-3AD203B41FA5}">
                      <a16:colId xmlns:a16="http://schemas.microsoft.com/office/drawing/2014/main" val="20000"/>
                    </a:ext>
                  </a:extLst>
                </a:gridCol>
                <a:gridCol w="2037276">
                  <a:extLst>
                    <a:ext uri="{9D8B030D-6E8A-4147-A177-3AD203B41FA5}">
                      <a16:colId xmlns:a16="http://schemas.microsoft.com/office/drawing/2014/main" val="20001"/>
                    </a:ext>
                  </a:extLst>
                </a:gridCol>
                <a:gridCol w="2523216">
                  <a:extLst>
                    <a:ext uri="{9D8B030D-6E8A-4147-A177-3AD203B41FA5}">
                      <a16:colId xmlns:a16="http://schemas.microsoft.com/office/drawing/2014/main" val="20002"/>
                    </a:ext>
                  </a:extLst>
                </a:gridCol>
                <a:gridCol w="2667205">
                  <a:extLst>
                    <a:ext uri="{9D8B030D-6E8A-4147-A177-3AD203B41FA5}">
                      <a16:colId xmlns:a16="http://schemas.microsoft.com/office/drawing/2014/main" val="20003"/>
                    </a:ext>
                  </a:extLst>
                </a:gridCol>
                <a:gridCol w="2919475">
                  <a:extLst>
                    <a:ext uri="{9D8B030D-6E8A-4147-A177-3AD203B41FA5}">
                      <a16:colId xmlns:a16="http://schemas.microsoft.com/office/drawing/2014/main" val="20004"/>
                    </a:ext>
                  </a:extLst>
                </a:gridCol>
              </a:tblGrid>
              <a:tr h="441920">
                <a:tc gridSpan="5">
                  <a:txBody>
                    <a:bodyPr/>
                    <a:lstStyle/>
                    <a:p>
                      <a:pPr algn="ctr"/>
                      <a:r>
                        <a:rPr lang="en-US" sz="1800" dirty="0" smtClean="0">
                          <a:solidFill>
                            <a:schemeClr val="bg1"/>
                          </a:solidFill>
                        </a:rPr>
                        <a:t>Training for</a:t>
                      </a:r>
                      <a:r>
                        <a:rPr lang="en-US" sz="1800" baseline="0" dirty="0" smtClean="0">
                          <a:solidFill>
                            <a:schemeClr val="bg1"/>
                          </a:solidFill>
                        </a:rPr>
                        <a:t> Expertise</a:t>
                      </a:r>
                      <a:endParaRPr lang="en-US" sz="1800" dirty="0">
                        <a:solidFill>
                          <a:schemeClr val="bg1"/>
                        </a:solidFill>
                      </a:endParaRPr>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extLst>
                  <a:ext uri="{0D108BD9-81ED-4DB2-BD59-A6C34878D82A}">
                    <a16:rowId xmlns:a16="http://schemas.microsoft.com/office/drawing/2014/main" val="10000"/>
                  </a:ext>
                </a:extLst>
              </a:tr>
              <a:tr h="2288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2"/>
                          </a:solidFill>
                        </a:rPr>
                        <a:t>Level of Expertise*</a:t>
                      </a:r>
                    </a:p>
                    <a:p>
                      <a:endParaRPr lang="en-US" sz="1200" dirty="0">
                        <a:solidFill>
                          <a:schemeClr val="tx2"/>
                        </a:solidFill>
                      </a:endParaRPr>
                    </a:p>
                  </a:txBody>
                  <a:tcPr/>
                </a:tc>
                <a:tc>
                  <a:txBody>
                    <a:bodyPr/>
                    <a:lstStyle/>
                    <a:p>
                      <a:r>
                        <a:rPr lang="en-US" sz="1600" b="1" dirty="0" smtClean="0">
                          <a:solidFill>
                            <a:schemeClr val="tx2"/>
                          </a:solidFill>
                        </a:rPr>
                        <a:t>Beginner/Novice:</a:t>
                      </a:r>
                    </a:p>
                    <a:p>
                      <a:pPr marL="285750" indent="-285750">
                        <a:buFont typeface="Arial" panose="020B0604020202020204" pitchFamily="34" charset="0"/>
                        <a:buChar char="•"/>
                      </a:pPr>
                      <a:r>
                        <a:rPr lang="en-US" sz="1200" dirty="0" smtClean="0">
                          <a:solidFill>
                            <a:schemeClr val="tx2"/>
                          </a:solidFill>
                        </a:rPr>
                        <a:t>Follows simple directions</a:t>
                      </a:r>
                    </a:p>
                    <a:p>
                      <a:pPr marL="285750" indent="-285750">
                        <a:buFont typeface="Arial" panose="020B0604020202020204" pitchFamily="34" charset="0"/>
                        <a:buChar char="•"/>
                      </a:pPr>
                      <a:r>
                        <a:rPr lang="en-US" sz="1200" dirty="0" smtClean="0">
                          <a:solidFill>
                            <a:schemeClr val="tx2"/>
                          </a:solidFill>
                        </a:rPr>
                        <a:t>Performs using memory of facts and simple rules</a:t>
                      </a:r>
                      <a:endParaRPr lang="en-US" sz="1200" b="0" dirty="0" smtClean="0">
                        <a:solidFill>
                          <a:schemeClr val="tx2"/>
                        </a:solidFill>
                      </a:endParaRPr>
                    </a:p>
                  </a:txBody>
                  <a:tcPr/>
                </a:tc>
                <a:tc>
                  <a:txBody>
                    <a:bodyPr/>
                    <a:lstStyle/>
                    <a:p>
                      <a:r>
                        <a:rPr lang="en-US" sz="1600" b="1" dirty="0" smtClean="0">
                          <a:solidFill>
                            <a:schemeClr val="tx2"/>
                          </a:solidFill>
                        </a:rPr>
                        <a:t>Competent:</a:t>
                      </a:r>
                    </a:p>
                    <a:p>
                      <a:pPr marL="285750" indent="-285750">
                        <a:buFont typeface="Arial" panose="020B0604020202020204" pitchFamily="34" charset="0"/>
                        <a:buChar char="•"/>
                      </a:pPr>
                      <a:r>
                        <a:rPr lang="en-US" sz="1200" dirty="0" smtClean="0">
                          <a:solidFill>
                            <a:schemeClr val="tx2"/>
                          </a:solidFill>
                        </a:rPr>
                        <a:t>Makes simple judgments for typical tasks</a:t>
                      </a:r>
                    </a:p>
                    <a:p>
                      <a:pPr marL="285750" indent="-285750">
                        <a:buFont typeface="Arial" panose="020B0604020202020204" pitchFamily="34" charset="0"/>
                        <a:buChar char="•"/>
                      </a:pPr>
                      <a:r>
                        <a:rPr lang="en-US" sz="1200" dirty="0" smtClean="0">
                          <a:solidFill>
                            <a:schemeClr val="tx2"/>
                          </a:solidFill>
                        </a:rPr>
                        <a:t>May need help with complex or unusual tasks</a:t>
                      </a:r>
                    </a:p>
                    <a:p>
                      <a:pPr marL="285750" indent="-285750">
                        <a:buFont typeface="Arial" panose="020B0604020202020204" pitchFamily="34" charset="0"/>
                        <a:buChar char="•"/>
                      </a:pPr>
                      <a:r>
                        <a:rPr lang="en-US" sz="1200" dirty="0" smtClean="0">
                          <a:solidFill>
                            <a:schemeClr val="tx2"/>
                          </a:solidFill>
                        </a:rPr>
                        <a:t>May lack speed and flexibility</a:t>
                      </a:r>
                    </a:p>
                    <a:p>
                      <a:endParaRPr lang="en-US" sz="1200" b="1" dirty="0">
                        <a:solidFill>
                          <a:schemeClr val="tx2"/>
                        </a:solidFill>
                      </a:endParaRPr>
                    </a:p>
                  </a:txBody>
                  <a:tcPr/>
                </a:tc>
                <a:tc>
                  <a:txBody>
                    <a:bodyPr/>
                    <a:lstStyle/>
                    <a:p>
                      <a:r>
                        <a:rPr lang="en-US" sz="1600" b="1" kern="1200" dirty="0" smtClean="0">
                          <a:solidFill>
                            <a:schemeClr val="tx2"/>
                          </a:solidFill>
                          <a:effectLst/>
                        </a:rPr>
                        <a:t>Proficient:</a:t>
                      </a:r>
                    </a:p>
                    <a:p>
                      <a:pPr marL="285750" lvl="0" indent="-285750">
                        <a:buFont typeface="Arial" panose="020B0604020202020204" pitchFamily="34" charset="0"/>
                        <a:buChar char="•"/>
                      </a:pPr>
                      <a:r>
                        <a:rPr lang="en-US" sz="1200" kern="1200" dirty="0" smtClean="0">
                          <a:solidFill>
                            <a:schemeClr val="tx2"/>
                          </a:solidFill>
                          <a:effectLst/>
                        </a:rPr>
                        <a:t>Performance guided by</a:t>
                      </a:r>
                    </a:p>
                    <a:p>
                      <a:pPr marL="285750" indent="-285750">
                        <a:buFont typeface="Arial" panose="020B0604020202020204" pitchFamily="34" charset="0"/>
                        <a:buChar char="•"/>
                      </a:pPr>
                      <a:r>
                        <a:rPr lang="en-US" sz="1200" kern="1200" dirty="0" smtClean="0">
                          <a:solidFill>
                            <a:schemeClr val="tx2"/>
                          </a:solidFill>
                          <a:effectLst/>
                        </a:rPr>
                        <a:t>deeper experience</a:t>
                      </a:r>
                    </a:p>
                    <a:p>
                      <a:pPr marL="285750" lvl="0" indent="-285750">
                        <a:buFont typeface="Arial" panose="020B0604020202020204" pitchFamily="34" charset="0"/>
                        <a:buChar char="•"/>
                      </a:pPr>
                      <a:r>
                        <a:rPr lang="en-US" sz="1200" kern="1200" dirty="0" smtClean="0">
                          <a:solidFill>
                            <a:schemeClr val="tx2"/>
                          </a:solidFill>
                          <a:effectLst/>
                        </a:rPr>
                        <a:t>Able to figure out the most critical aspects of a situation</a:t>
                      </a:r>
                    </a:p>
                    <a:p>
                      <a:pPr marL="285750" lvl="0" indent="-285750">
                        <a:buFont typeface="Arial" panose="020B0604020202020204" pitchFamily="34" charset="0"/>
                        <a:buChar char="•"/>
                      </a:pPr>
                      <a:r>
                        <a:rPr lang="en-US" sz="1200" kern="1200" dirty="0" smtClean="0">
                          <a:solidFill>
                            <a:schemeClr val="tx2"/>
                          </a:solidFill>
                          <a:effectLst/>
                        </a:rPr>
                        <a:t>Sees nuances missed by less skilled performers</a:t>
                      </a:r>
                    </a:p>
                    <a:p>
                      <a:pPr marL="285750" indent="-285750">
                        <a:buFont typeface="Arial" panose="020B0604020202020204" pitchFamily="34" charset="0"/>
                        <a:buChar char="•"/>
                      </a:pPr>
                      <a:r>
                        <a:rPr lang="en-US" sz="1200" kern="1200" dirty="0" smtClean="0">
                          <a:solidFill>
                            <a:schemeClr val="tx2"/>
                          </a:solidFill>
                          <a:effectLst/>
                        </a:rPr>
                        <a:t>Flexible performance</a:t>
                      </a:r>
                      <a:endParaRPr lang="en-US" sz="1200" dirty="0">
                        <a:solidFill>
                          <a:schemeClr val="tx2"/>
                        </a:solidFill>
                      </a:endParaRPr>
                    </a:p>
                  </a:txBody>
                  <a:tcPr/>
                </a:tc>
                <a:tc>
                  <a:txBody>
                    <a:bodyPr/>
                    <a:lstStyle/>
                    <a:p>
                      <a:r>
                        <a:rPr lang="en-US" sz="1600" b="1" kern="1200" dirty="0" smtClean="0">
                          <a:solidFill>
                            <a:schemeClr val="tx2"/>
                          </a:solidFill>
                          <a:effectLst/>
                        </a:rPr>
                        <a:t>Expert:</a:t>
                      </a:r>
                    </a:p>
                    <a:p>
                      <a:pPr marL="285750" lvl="0" indent="-285750">
                        <a:buFont typeface="Arial" panose="020B0604020202020204" pitchFamily="34" charset="0"/>
                        <a:buChar char="•"/>
                      </a:pPr>
                      <a:r>
                        <a:rPr lang="en-US" sz="1200" kern="1200" dirty="0" smtClean="0">
                          <a:solidFill>
                            <a:schemeClr val="tx2"/>
                          </a:solidFill>
                          <a:effectLst/>
                        </a:rPr>
                        <a:t>Performance guided by extensive practice and easily retrievable knowledge and skills</a:t>
                      </a:r>
                    </a:p>
                    <a:p>
                      <a:pPr marL="285750" lvl="0" indent="-285750">
                        <a:buFont typeface="Arial" panose="020B0604020202020204" pitchFamily="34" charset="0"/>
                        <a:buChar char="•"/>
                      </a:pPr>
                      <a:r>
                        <a:rPr lang="en-US" sz="1200" kern="1200" dirty="0" smtClean="0">
                          <a:solidFill>
                            <a:schemeClr val="tx2"/>
                          </a:solidFill>
                          <a:effectLst/>
                        </a:rPr>
                        <a:t>Notices nuances, connections, and patterns</a:t>
                      </a:r>
                    </a:p>
                    <a:p>
                      <a:pPr marL="285750" lvl="0" indent="-285750">
                        <a:buFont typeface="Arial" panose="020B0604020202020204" pitchFamily="34" charset="0"/>
                        <a:buChar char="•"/>
                      </a:pPr>
                      <a:r>
                        <a:rPr lang="en-US" sz="1200" kern="1200" dirty="0" smtClean="0">
                          <a:solidFill>
                            <a:schemeClr val="tx2"/>
                          </a:solidFill>
                          <a:effectLst/>
                        </a:rPr>
                        <a:t>Intuitive understanding based on extensive practice</a:t>
                      </a:r>
                    </a:p>
                    <a:p>
                      <a:pPr marL="285750" indent="-285750">
                        <a:buFont typeface="Arial" panose="020B0604020202020204" pitchFamily="34" charset="0"/>
                        <a:buChar char="•"/>
                      </a:pPr>
                      <a:r>
                        <a:rPr lang="en-US" sz="1200" kern="1200" dirty="0" smtClean="0">
                          <a:solidFill>
                            <a:schemeClr val="tx2"/>
                          </a:solidFill>
                          <a:effectLst/>
                        </a:rPr>
                        <a:t>Able to solve difficult problems, learn fast, find needed resources</a:t>
                      </a:r>
                      <a:endParaRPr lang="en-US" sz="1200" dirty="0">
                        <a:solidFill>
                          <a:schemeClr val="tx2"/>
                        </a:solidFill>
                      </a:endParaRPr>
                    </a:p>
                  </a:txBody>
                  <a:tcPr/>
                </a:tc>
                <a:extLst>
                  <a:ext uri="{0D108BD9-81ED-4DB2-BD59-A6C34878D82A}">
                    <a16:rowId xmlns:a16="http://schemas.microsoft.com/office/drawing/2014/main" val="10001"/>
                  </a:ext>
                </a:extLst>
              </a:tr>
            </a:tbl>
          </a:graphicData>
        </a:graphic>
      </p:graphicFrame>
      <p:sp>
        <p:nvSpPr>
          <p:cNvPr id="7" name="Text Box 1"/>
          <p:cNvSpPr txBox="1"/>
          <p:nvPr/>
        </p:nvSpPr>
        <p:spPr>
          <a:xfrm>
            <a:off x="359872" y="6475066"/>
            <a:ext cx="4173855" cy="20637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07000"/>
              </a:lnSpc>
              <a:spcBef>
                <a:spcPts val="0"/>
              </a:spcBef>
              <a:spcAft>
                <a:spcPts val="800"/>
              </a:spcAft>
            </a:pPr>
            <a:r>
              <a:rPr lang="en-US" sz="800" dirty="0">
                <a:solidFill>
                  <a:schemeClr val="bg1">
                    <a:lumMod val="65000"/>
                  </a:schemeClr>
                </a:solidFill>
                <a:effectLst/>
                <a:ea typeface="Calibri Light" panose="020F0302020204030204" pitchFamily="34" charset="0"/>
                <a:cs typeface="Times New Roman" panose="02020603050405020304" pitchFamily="18" charset="0"/>
              </a:rPr>
              <a:t>*Association for Talent Development (ATD) Training for Expertise Job Aid by Patti Shank, PhD</a:t>
            </a:r>
            <a:endParaRPr lang="en-US" sz="1100" dirty="0">
              <a:solidFill>
                <a:schemeClr val="bg1">
                  <a:lumMod val="65000"/>
                </a:schemeClr>
              </a:solidFill>
              <a:effectLst/>
              <a:ea typeface="Calibri Light" panose="020F0302020204030204" pitchFamily="34" charset="0"/>
              <a:cs typeface="Times New Roman" panose="02020603050405020304" pitchFamily="18" charset="0"/>
            </a:endParaRPr>
          </a:p>
          <a:p>
            <a:pPr marL="0" marR="0">
              <a:lnSpc>
                <a:spcPct val="107000"/>
              </a:lnSpc>
              <a:spcBef>
                <a:spcPts val="0"/>
              </a:spcBef>
              <a:spcAft>
                <a:spcPts val="800"/>
              </a:spcAft>
            </a:pPr>
            <a:r>
              <a:rPr lang="en-US" sz="1100" dirty="0">
                <a:solidFill>
                  <a:schemeClr val="bg1">
                    <a:lumMod val="65000"/>
                  </a:schemeClr>
                </a:solidFill>
                <a:effectLst/>
                <a:ea typeface="Calibri Light" panose="020F0302020204030204" pitchFamily="34" charset="0"/>
                <a:cs typeface="Times New Roman" panose="02020603050405020304" pitchFamily="18" charset="0"/>
              </a:rPr>
              <a:t> </a:t>
            </a:r>
          </a:p>
        </p:txBody>
      </p:sp>
      <p:graphicFrame>
        <p:nvGraphicFramePr>
          <p:cNvPr id="9" name="Content Placeholder 5"/>
          <p:cNvGraphicFramePr>
            <a:graphicFrameLocks/>
          </p:cNvGraphicFramePr>
          <p:nvPr>
            <p:extLst/>
          </p:nvPr>
        </p:nvGraphicFramePr>
        <p:xfrm>
          <a:off x="166255" y="123919"/>
          <a:ext cx="11698672" cy="3378423"/>
        </p:xfrm>
        <a:graphic>
          <a:graphicData uri="http://schemas.openxmlformats.org/drawingml/2006/table">
            <a:tbl>
              <a:tblPr firstRow="1" bandRow="1">
                <a:tableStyleId>{85BE263C-DBD7-4A20-BB59-AAB30ACAA65A}</a:tableStyleId>
              </a:tblPr>
              <a:tblGrid>
                <a:gridCol w="1688936">
                  <a:extLst>
                    <a:ext uri="{9D8B030D-6E8A-4147-A177-3AD203B41FA5}">
                      <a16:colId xmlns:a16="http://schemas.microsoft.com/office/drawing/2014/main" val="20000"/>
                    </a:ext>
                  </a:extLst>
                </a:gridCol>
                <a:gridCol w="1790734">
                  <a:extLst>
                    <a:ext uri="{9D8B030D-6E8A-4147-A177-3AD203B41FA5}">
                      <a16:colId xmlns:a16="http://schemas.microsoft.com/office/drawing/2014/main" val="20001"/>
                    </a:ext>
                  </a:extLst>
                </a:gridCol>
                <a:gridCol w="2632322">
                  <a:extLst>
                    <a:ext uri="{9D8B030D-6E8A-4147-A177-3AD203B41FA5}">
                      <a16:colId xmlns:a16="http://schemas.microsoft.com/office/drawing/2014/main" val="20002"/>
                    </a:ext>
                  </a:extLst>
                </a:gridCol>
                <a:gridCol w="2667205">
                  <a:extLst>
                    <a:ext uri="{9D8B030D-6E8A-4147-A177-3AD203B41FA5}">
                      <a16:colId xmlns:a16="http://schemas.microsoft.com/office/drawing/2014/main" val="20003"/>
                    </a:ext>
                  </a:extLst>
                </a:gridCol>
                <a:gridCol w="2919475">
                  <a:extLst>
                    <a:ext uri="{9D8B030D-6E8A-4147-A177-3AD203B41FA5}">
                      <a16:colId xmlns:a16="http://schemas.microsoft.com/office/drawing/2014/main" val="20004"/>
                    </a:ext>
                  </a:extLst>
                </a:gridCol>
              </a:tblGrid>
              <a:tr h="365949">
                <a:tc gridSpan="5">
                  <a:txBody>
                    <a:bodyPr/>
                    <a:lstStyle/>
                    <a:p>
                      <a:pPr algn="ctr"/>
                      <a:r>
                        <a:rPr lang="en-US" sz="1800" dirty="0" smtClean="0">
                          <a:solidFill>
                            <a:schemeClr val="bg1"/>
                          </a:solidFill>
                        </a:rPr>
                        <a:t>Training for</a:t>
                      </a:r>
                      <a:r>
                        <a:rPr lang="en-US" sz="1800" baseline="0" dirty="0" smtClean="0">
                          <a:solidFill>
                            <a:schemeClr val="bg1"/>
                          </a:solidFill>
                        </a:rPr>
                        <a:t> Outcomes</a:t>
                      </a:r>
                      <a:endParaRPr lang="en-US" sz="1800" dirty="0">
                        <a:solidFill>
                          <a:schemeClr val="bg1"/>
                        </a:solidFill>
                      </a:endParaRPr>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tc hMerge="1">
                  <a:txBody>
                    <a:bodyPr/>
                    <a:lstStyle/>
                    <a:p>
                      <a:endParaRPr lang="en-US" sz="1050" dirty="0"/>
                    </a:p>
                  </a:txBody>
                  <a:tcPr/>
                </a:tc>
                <a:extLst>
                  <a:ext uri="{0D108BD9-81ED-4DB2-BD59-A6C34878D82A}">
                    <a16:rowId xmlns:a16="http://schemas.microsoft.com/office/drawing/2014/main" val="10000"/>
                  </a:ext>
                </a:extLst>
              </a:tr>
              <a:tr h="1784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2"/>
                          </a:solidFill>
                        </a:rPr>
                        <a:t>Knowled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2"/>
                          </a:solidFill>
                        </a:rPr>
                        <a:t>the degree to which participants know certain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none" dirty="0" smtClean="0">
                        <a:solidFill>
                          <a:schemeClr val="tx2"/>
                        </a:solidFill>
                      </a:endParaRPr>
                    </a:p>
                  </a:txBody>
                  <a:tcPr/>
                </a:tc>
                <a:tc>
                  <a:txBody>
                    <a:bodyPr/>
                    <a:lstStyle/>
                    <a:p>
                      <a:r>
                        <a:rPr lang="en-US" sz="1600" b="1" dirty="0" smtClean="0">
                          <a:solidFill>
                            <a:schemeClr val="tx2"/>
                          </a:solidFill>
                        </a:rPr>
                        <a:t>Skills &amp; Abil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2"/>
                          </a:solidFill>
                        </a:rPr>
                        <a:t>the degree to which they know how to do something or perform a certain tas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sng" dirty="0" smtClean="0">
                        <a:solidFill>
                          <a:schemeClr val="tx2"/>
                        </a:solidFill>
                      </a:endParaRPr>
                    </a:p>
                  </a:txBody>
                  <a:tcPr/>
                </a:tc>
                <a:tc>
                  <a:txBody>
                    <a:bodyPr/>
                    <a:lstStyle/>
                    <a:p>
                      <a:r>
                        <a:rPr lang="en-US" sz="1600" b="1" dirty="0" smtClean="0">
                          <a:solidFill>
                            <a:schemeClr val="tx2"/>
                          </a:solidFill>
                        </a:rPr>
                        <a:t>Attitude:</a:t>
                      </a:r>
                    </a:p>
                    <a:p>
                      <a:pPr marL="0" indent="0">
                        <a:buFont typeface="Arial" panose="020B0604020202020204" pitchFamily="34" charset="0"/>
                        <a:buNone/>
                      </a:pPr>
                      <a:r>
                        <a:rPr lang="en-US" sz="1100" dirty="0" smtClean="0">
                          <a:solidFill>
                            <a:schemeClr val="tx2"/>
                          </a:solidFill>
                        </a:rPr>
                        <a:t>the degree to which training participants believe it will be worthwhile to implement what is learned during training on the job</a:t>
                      </a:r>
                    </a:p>
                  </a:txBody>
                  <a:tcPr/>
                </a:tc>
                <a:tc>
                  <a:txBody>
                    <a:bodyPr/>
                    <a:lstStyle/>
                    <a:p>
                      <a:r>
                        <a:rPr lang="en-US" sz="1600" b="1" kern="1200" dirty="0" smtClean="0">
                          <a:solidFill>
                            <a:schemeClr val="tx2"/>
                          </a:solidFill>
                          <a:effectLst/>
                        </a:rPr>
                        <a:t>Commit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dirty="0" smtClean="0">
                          <a:solidFill>
                            <a:schemeClr val="tx2"/>
                          </a:solidFill>
                          <a:effectLst/>
                        </a:rPr>
                        <a:t>the degree to which learners intend to apply the knowledge and skills learned during training to their jobs, relates to learner motivation by acknowledging that even if the learner masters the knowledge and skills, they must still put forth effort to use the information or perform the skills daily.</a:t>
                      </a:r>
                    </a:p>
                  </a:txBody>
                  <a:tcPr/>
                </a:tc>
                <a:tc>
                  <a:txBody>
                    <a:bodyPr/>
                    <a:lstStyle/>
                    <a:p>
                      <a:r>
                        <a:rPr lang="en-US" sz="1600" b="1" kern="1200" dirty="0" smtClean="0">
                          <a:solidFill>
                            <a:schemeClr val="tx2"/>
                          </a:solidFill>
                          <a:effectLst/>
                        </a:rPr>
                        <a:t>Confidence:</a:t>
                      </a:r>
                    </a:p>
                    <a:p>
                      <a:r>
                        <a:rPr lang="en-US" sz="1100" b="0" kern="1200" dirty="0" smtClean="0">
                          <a:solidFill>
                            <a:schemeClr val="tx2"/>
                          </a:solidFill>
                          <a:effectLst/>
                        </a:rPr>
                        <a:t>the degree to which training participants thing they will be able to do what they learned during training on the job.</a:t>
                      </a:r>
                      <a:r>
                        <a:rPr lang="en-US" sz="1100" b="0" kern="1200" baseline="0" dirty="0" smtClean="0">
                          <a:solidFill>
                            <a:schemeClr val="tx2"/>
                          </a:solidFill>
                          <a:effectLst/>
                        </a:rPr>
                        <a:t>  </a:t>
                      </a:r>
                      <a:r>
                        <a:rPr lang="en-US" sz="1100" b="0" kern="1200" dirty="0" smtClean="0">
                          <a:solidFill>
                            <a:schemeClr val="tx2"/>
                          </a:solidFill>
                          <a:effectLst/>
                        </a:rPr>
                        <a:t>Addressing confidence during training brings learners close to the desired on-the-job performance.  It can proactively surface potential on-the-job application barriers so they can be resolved.</a:t>
                      </a:r>
                    </a:p>
                  </a:txBody>
                  <a:tcPr/>
                </a:tc>
                <a:extLst>
                  <a:ext uri="{0D108BD9-81ED-4DB2-BD59-A6C34878D82A}">
                    <a16:rowId xmlns:a16="http://schemas.microsoft.com/office/drawing/2014/main" val="10001"/>
                  </a:ext>
                </a:extLst>
              </a:tr>
              <a:tr h="1227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tx2"/>
                          </a:solidFill>
                        </a:rPr>
                        <a:t>“I know 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smtClean="0">
                          <a:solidFill>
                            <a:schemeClr val="tx2"/>
                          </a:solidFill>
                        </a:rPr>
                        <a:t>“I can do it right now.”</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u="none" dirty="0" smtClean="0">
                          <a:solidFill>
                            <a:schemeClr val="tx2"/>
                          </a:solidFill>
                        </a:rPr>
                        <a:t>“I believe it will be worthwhile to do this in my work.” </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smtClean="0">
                          <a:solidFill>
                            <a:schemeClr val="tx2"/>
                          </a:solidFill>
                          <a:effectLst/>
                        </a:rPr>
                        <a:t>“I intend to do it on the job.”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2"/>
                          </a:solidFill>
                          <a:effectLst/>
                        </a:rPr>
                        <a:t>“I think I can do it on the job.” </a:t>
                      </a:r>
                    </a:p>
                  </a:txBody>
                  <a:tcPr/>
                </a:tc>
                <a:extLst>
                  <a:ext uri="{0D108BD9-81ED-4DB2-BD59-A6C34878D82A}">
                    <a16:rowId xmlns:a16="http://schemas.microsoft.com/office/drawing/2014/main" val="3252973020"/>
                  </a:ext>
                </a:extLst>
              </a:tr>
            </a:tbl>
          </a:graphicData>
        </a:graphic>
      </p:graphicFrame>
    </p:spTree>
    <p:extLst>
      <p:ext uri="{BB962C8B-B14F-4D97-AF65-F5344CB8AC3E}">
        <p14:creationId xmlns:p14="http://schemas.microsoft.com/office/powerpoint/2010/main" val="14523063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ining Requirements</a:t>
            </a:r>
            <a:endParaRPr lang="en-US" dirty="0"/>
          </a:p>
        </p:txBody>
      </p:sp>
      <p:sp>
        <p:nvSpPr>
          <p:cNvPr id="3" name="Content Placeholder 2"/>
          <p:cNvSpPr>
            <a:spLocks noGrp="1"/>
          </p:cNvSpPr>
          <p:nvPr>
            <p:ph idx="1"/>
          </p:nvPr>
        </p:nvSpPr>
        <p:spPr/>
        <p:txBody>
          <a:bodyPr>
            <a:normAutofit fontScale="77500" lnSpcReduction="20000"/>
          </a:bodyPr>
          <a:lstStyle/>
          <a:p>
            <a:pPr marL="285750" indent="-285750">
              <a:buFont typeface="Arial" panose="020B0604020202020204" pitchFamily="34" charset="0"/>
              <a:buChar char="•"/>
            </a:pPr>
            <a:r>
              <a:rPr lang="en-US" dirty="0" smtClean="0">
                <a:solidFill>
                  <a:schemeClr val="accent1">
                    <a:lumMod val="75000"/>
                  </a:schemeClr>
                </a:solidFill>
              </a:rPr>
              <a:t>Dealing </a:t>
            </a:r>
            <a:r>
              <a:rPr lang="en-US" dirty="0">
                <a:solidFill>
                  <a:schemeClr val="accent1">
                    <a:lumMod val="75000"/>
                  </a:schemeClr>
                </a:solidFill>
              </a:rPr>
              <a:t>with transition </a:t>
            </a:r>
          </a:p>
          <a:p>
            <a:pPr marL="285750" indent="-285750">
              <a:buFont typeface="Arial" panose="020B0604020202020204" pitchFamily="34" charset="0"/>
              <a:buChar char="•"/>
            </a:pPr>
            <a:r>
              <a:rPr lang="en-US" dirty="0">
                <a:solidFill>
                  <a:schemeClr val="accent1">
                    <a:lumMod val="75000"/>
                  </a:schemeClr>
                </a:solidFill>
              </a:rPr>
              <a:t>Personally dealing with change </a:t>
            </a:r>
          </a:p>
          <a:p>
            <a:pPr marL="285750" indent="-285750">
              <a:buFont typeface="Arial" panose="020B0604020202020204" pitchFamily="34" charset="0"/>
              <a:buChar char="•"/>
            </a:pPr>
            <a:r>
              <a:rPr lang="en-US" dirty="0">
                <a:solidFill>
                  <a:schemeClr val="accent1">
                    <a:lumMod val="75000"/>
                  </a:schemeClr>
                </a:solidFill>
              </a:rPr>
              <a:t>Succeeding in a changing environment </a:t>
            </a:r>
          </a:p>
          <a:p>
            <a:pPr marL="285750" indent="-285750">
              <a:buFont typeface="Arial" panose="020B0604020202020204" pitchFamily="34" charset="0"/>
              <a:buChar char="•"/>
            </a:pPr>
            <a:r>
              <a:rPr lang="en-US" dirty="0">
                <a:solidFill>
                  <a:schemeClr val="accent1">
                    <a:lumMod val="75000"/>
                  </a:schemeClr>
                </a:solidFill>
              </a:rPr>
              <a:t>Managing resistance (supervisors and sponsors) </a:t>
            </a:r>
          </a:p>
          <a:p>
            <a:pPr marL="285750" indent="-285750">
              <a:buFont typeface="Arial" panose="020B0604020202020204" pitchFamily="34" charset="0"/>
              <a:buChar char="•"/>
            </a:pPr>
            <a:r>
              <a:rPr lang="en-US" dirty="0">
                <a:solidFill>
                  <a:schemeClr val="accent1">
                    <a:lumMod val="75000"/>
                  </a:schemeClr>
                </a:solidFill>
              </a:rPr>
              <a:t>Big picture overview of the new environment </a:t>
            </a:r>
          </a:p>
          <a:p>
            <a:pPr marL="285750" indent="-285750">
              <a:buFont typeface="Arial" panose="020B0604020202020204" pitchFamily="34" charset="0"/>
              <a:buChar char="•"/>
            </a:pPr>
            <a:r>
              <a:rPr lang="en-US" dirty="0">
                <a:solidFill>
                  <a:schemeClr val="accent1">
                    <a:lumMod val="75000"/>
                  </a:schemeClr>
                </a:solidFill>
              </a:rPr>
              <a:t>Basic or requisite skills/knowledge </a:t>
            </a:r>
          </a:p>
          <a:p>
            <a:pPr marL="285750" indent="-285750">
              <a:buFont typeface="Arial" panose="020B0604020202020204" pitchFamily="34" charset="0"/>
              <a:buChar char="•"/>
            </a:pPr>
            <a:r>
              <a:rPr lang="en-US" dirty="0">
                <a:solidFill>
                  <a:schemeClr val="accent1">
                    <a:lumMod val="75000"/>
                  </a:schemeClr>
                </a:solidFill>
              </a:rPr>
              <a:t>Temporary work processes </a:t>
            </a:r>
          </a:p>
          <a:p>
            <a:pPr marL="285750" indent="-285750">
              <a:buFont typeface="Arial" panose="020B0604020202020204" pitchFamily="34" charset="0"/>
              <a:buChar char="•"/>
            </a:pPr>
            <a:r>
              <a:rPr lang="en-US" dirty="0">
                <a:solidFill>
                  <a:schemeClr val="accent1">
                    <a:lumMod val="75000"/>
                  </a:schemeClr>
                </a:solidFill>
              </a:rPr>
              <a:t>Handling exceptions </a:t>
            </a:r>
          </a:p>
          <a:p>
            <a:pPr marL="285750" indent="-285750">
              <a:buFont typeface="Arial" panose="020B0604020202020204" pitchFamily="34" charset="0"/>
              <a:buChar char="•"/>
            </a:pPr>
            <a:r>
              <a:rPr lang="en-US" dirty="0">
                <a:solidFill>
                  <a:schemeClr val="accent1">
                    <a:lumMod val="75000"/>
                  </a:schemeClr>
                </a:solidFill>
              </a:rPr>
              <a:t>Process skills/knowledge</a:t>
            </a:r>
          </a:p>
          <a:p>
            <a:pPr marL="285750" indent="-285750">
              <a:buFont typeface="Arial" panose="020B0604020202020204" pitchFamily="34" charset="0"/>
              <a:buChar char="•"/>
            </a:pPr>
            <a:r>
              <a:rPr lang="en-US" dirty="0"/>
              <a:t>System skills/knowledge</a:t>
            </a:r>
          </a:p>
          <a:p>
            <a:pPr marL="285750" indent="-285750">
              <a:buFont typeface="Arial" panose="020B0604020202020204" pitchFamily="34" charset="0"/>
              <a:buChar char="•"/>
            </a:pPr>
            <a:r>
              <a:rPr lang="en-US" dirty="0" smtClean="0">
                <a:solidFill>
                  <a:schemeClr val="accent1">
                    <a:lumMod val="75000"/>
                  </a:schemeClr>
                </a:solidFill>
              </a:rPr>
              <a:t>Technical skill/knowledge</a:t>
            </a:r>
            <a:endParaRPr lang="en-US" dirty="0">
              <a:solidFill>
                <a:schemeClr val="accent1">
                  <a:lumMod val="75000"/>
                </a:schemeClr>
              </a:solidFill>
            </a:endParaRPr>
          </a:p>
          <a:p>
            <a:pPr marL="285750" indent="-285750">
              <a:buFont typeface="Arial" panose="020B0604020202020204" pitchFamily="34" charset="0"/>
              <a:buChar char="•"/>
            </a:pPr>
            <a:r>
              <a:rPr lang="en-US" dirty="0">
                <a:solidFill>
                  <a:schemeClr val="accent1">
                    <a:lumMod val="75000"/>
                  </a:schemeClr>
                </a:solidFill>
              </a:rPr>
              <a:t>Organizational skills/ knowledge</a:t>
            </a:r>
          </a:p>
          <a:p>
            <a:pPr marL="285750" indent="-285750">
              <a:buFont typeface="Arial" panose="020B0604020202020204" pitchFamily="34" charset="0"/>
              <a:buChar char="•"/>
            </a:pPr>
            <a:r>
              <a:rPr lang="en-US" dirty="0">
                <a:solidFill>
                  <a:schemeClr val="accent1">
                    <a:lumMod val="75000"/>
                  </a:schemeClr>
                </a:solidFill>
              </a:rPr>
              <a:t>Problem resolution</a:t>
            </a:r>
          </a:p>
        </p:txBody>
      </p:sp>
      <p:sp>
        <p:nvSpPr>
          <p:cNvPr id="4" name="Text Placeholder 3"/>
          <p:cNvSpPr>
            <a:spLocks noGrp="1"/>
          </p:cNvSpPr>
          <p:nvPr>
            <p:ph type="body" sz="quarter" idx="13"/>
          </p:nvPr>
        </p:nvSpPr>
        <p:spPr/>
        <p:txBody>
          <a:bodyPr/>
          <a:lstStyle/>
          <a:p>
            <a:r>
              <a:rPr lang="en-US" dirty="0" smtClean="0"/>
              <a:t>What are you training for?</a:t>
            </a:r>
            <a:endParaRPr lang="en-US" dirty="0"/>
          </a:p>
        </p:txBody>
      </p:sp>
      <p:sp>
        <p:nvSpPr>
          <p:cNvPr id="7" name="Folded Corner 6"/>
          <p:cNvSpPr/>
          <p:nvPr/>
        </p:nvSpPr>
        <p:spPr>
          <a:xfrm>
            <a:off x="10144895" y="333632"/>
            <a:ext cx="1631092" cy="1581665"/>
          </a:xfrm>
          <a:prstGeom prst="foldedCorner">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Make sure </a:t>
            </a:r>
            <a:r>
              <a:rPr lang="en-US" dirty="0" smtClean="0">
                <a:solidFill>
                  <a:schemeClr val="tx2"/>
                </a:solidFill>
              </a:rPr>
              <a:t>ALL needs are assessed and addressed!</a:t>
            </a:r>
            <a:endParaRPr lang="en-US" dirty="0">
              <a:solidFill>
                <a:schemeClr val="tx2"/>
              </a:solidFill>
            </a:endParaRPr>
          </a:p>
        </p:txBody>
      </p:sp>
      <p:grpSp>
        <p:nvGrpSpPr>
          <p:cNvPr id="26" name="Group 25"/>
          <p:cNvGrpSpPr/>
          <p:nvPr/>
        </p:nvGrpSpPr>
        <p:grpSpPr>
          <a:xfrm>
            <a:off x="9579959" y="4275784"/>
            <a:ext cx="2327778" cy="2308324"/>
            <a:chOff x="9640817" y="4282161"/>
            <a:chExt cx="2327778" cy="2308324"/>
          </a:xfrm>
        </p:grpSpPr>
        <p:sp>
          <p:nvSpPr>
            <p:cNvPr id="17" name="TextBox 16"/>
            <p:cNvSpPr txBox="1"/>
            <p:nvPr/>
          </p:nvSpPr>
          <p:spPr>
            <a:xfrm>
              <a:off x="10087745" y="4282161"/>
              <a:ext cx="1880850" cy="2308324"/>
            </a:xfrm>
            <a:prstGeom prst="rect">
              <a:avLst/>
            </a:prstGeom>
            <a:solidFill>
              <a:schemeClr val="bg1">
                <a:lumMod val="95000"/>
              </a:schemeClr>
            </a:solidFill>
          </p:spPr>
          <p:txBody>
            <a:bodyPr wrap="square" rtlCol="0">
              <a:spAutoFit/>
            </a:bodyPr>
            <a:lstStyle/>
            <a:p>
              <a:r>
                <a:rPr lang="en-US" sz="1200" dirty="0" smtClean="0">
                  <a:solidFill>
                    <a:schemeClr val="tx2"/>
                  </a:solidFill>
                </a:rPr>
                <a:t>KR Modules:</a:t>
              </a:r>
            </a:p>
            <a:p>
              <a:pPr marL="285750" indent="-285750">
                <a:buFont typeface="Arial" panose="020B0604020202020204" pitchFamily="34" charset="0"/>
                <a:buChar char="•"/>
              </a:pPr>
              <a:r>
                <a:rPr lang="en-US" sz="1200" dirty="0" smtClean="0">
                  <a:solidFill>
                    <a:schemeClr val="tx2"/>
                  </a:solidFill>
                </a:rPr>
                <a:t>Dashboard</a:t>
              </a:r>
            </a:p>
            <a:p>
              <a:pPr marL="285750" indent="-285750">
                <a:buFont typeface="Arial" panose="020B0604020202020204" pitchFamily="34" charset="0"/>
                <a:buChar char="•"/>
              </a:pPr>
              <a:r>
                <a:rPr lang="en-US" sz="1200" dirty="0" smtClean="0">
                  <a:solidFill>
                    <a:schemeClr val="tx2"/>
                  </a:solidFill>
                </a:rPr>
                <a:t>Proposal Development</a:t>
              </a:r>
            </a:p>
            <a:p>
              <a:pPr marL="285750" indent="-285750">
                <a:buFont typeface="Arial" panose="020B0604020202020204" pitchFamily="34" charset="0"/>
                <a:buChar char="•"/>
              </a:pPr>
              <a:r>
                <a:rPr lang="en-US" sz="1200" dirty="0" smtClean="0">
                  <a:solidFill>
                    <a:schemeClr val="tx2"/>
                  </a:solidFill>
                </a:rPr>
                <a:t>Institutional Proposal</a:t>
              </a:r>
            </a:p>
            <a:p>
              <a:pPr marL="285750" indent="-285750">
                <a:buFont typeface="Arial" panose="020B0604020202020204" pitchFamily="34" charset="0"/>
                <a:buChar char="•"/>
              </a:pPr>
              <a:r>
                <a:rPr lang="en-US" sz="1200" dirty="0" smtClean="0">
                  <a:solidFill>
                    <a:schemeClr val="tx2"/>
                  </a:solidFill>
                </a:rPr>
                <a:t>Negotiations</a:t>
              </a:r>
            </a:p>
            <a:p>
              <a:pPr marL="285750" indent="-285750">
                <a:buFont typeface="Arial" panose="020B0604020202020204" pitchFamily="34" charset="0"/>
                <a:buChar char="•"/>
              </a:pPr>
              <a:r>
                <a:rPr lang="en-US" sz="1200" dirty="0" smtClean="0">
                  <a:solidFill>
                    <a:schemeClr val="tx2"/>
                  </a:solidFill>
                </a:rPr>
                <a:t>Award</a:t>
              </a:r>
            </a:p>
            <a:p>
              <a:pPr marL="285750" indent="-285750">
                <a:buFont typeface="Arial" panose="020B0604020202020204" pitchFamily="34" charset="0"/>
                <a:buChar char="•"/>
              </a:pPr>
              <a:r>
                <a:rPr lang="en-US" sz="1200" dirty="0" smtClean="0">
                  <a:solidFill>
                    <a:schemeClr val="tx2"/>
                  </a:solidFill>
                </a:rPr>
                <a:t>Subaward</a:t>
              </a:r>
            </a:p>
            <a:p>
              <a:pPr marL="285750" indent="-285750">
                <a:buFont typeface="Arial" panose="020B0604020202020204" pitchFamily="34" charset="0"/>
                <a:buChar char="•"/>
              </a:pPr>
              <a:r>
                <a:rPr lang="en-US" sz="1200" dirty="0" err="1">
                  <a:solidFill>
                    <a:schemeClr val="tx2"/>
                  </a:solidFill>
                </a:rPr>
                <a:t>Kuali</a:t>
              </a:r>
              <a:r>
                <a:rPr lang="en-US" sz="1200" dirty="0">
                  <a:solidFill>
                    <a:schemeClr val="tx2"/>
                  </a:solidFill>
                </a:rPr>
                <a:t> </a:t>
              </a:r>
              <a:r>
                <a:rPr lang="en-US" sz="1200" dirty="0" smtClean="0">
                  <a:solidFill>
                    <a:schemeClr val="tx2"/>
                  </a:solidFill>
                </a:rPr>
                <a:t>Protocols</a:t>
              </a:r>
              <a:endParaRPr lang="en-US" sz="1200" dirty="0">
                <a:solidFill>
                  <a:schemeClr val="tx2"/>
                </a:solidFill>
              </a:endParaRPr>
            </a:p>
            <a:p>
              <a:pPr marL="285750" indent="-285750">
                <a:buFont typeface="Arial" panose="020B0604020202020204" pitchFamily="34" charset="0"/>
                <a:buChar char="•"/>
              </a:pPr>
              <a:r>
                <a:rPr lang="en-US" sz="1200" dirty="0" err="1">
                  <a:solidFill>
                    <a:schemeClr val="tx2"/>
                  </a:solidFill>
                </a:rPr>
                <a:t>Kuali</a:t>
              </a:r>
              <a:r>
                <a:rPr lang="en-US" sz="1200" dirty="0">
                  <a:solidFill>
                    <a:schemeClr val="tx2"/>
                  </a:solidFill>
                </a:rPr>
                <a:t> COI</a:t>
              </a:r>
            </a:p>
            <a:p>
              <a:pPr marL="285750" indent="-285750">
                <a:buFont typeface="Arial" panose="020B0604020202020204" pitchFamily="34" charset="0"/>
                <a:buChar char="•"/>
              </a:pPr>
              <a:endParaRPr lang="en-US" sz="1200" dirty="0" smtClean="0">
                <a:solidFill>
                  <a:schemeClr val="tx2"/>
                </a:solidFill>
              </a:endParaRPr>
            </a:p>
            <a:p>
              <a:r>
                <a:rPr lang="en-US" sz="1200" dirty="0" smtClean="0">
                  <a:solidFill>
                    <a:schemeClr val="tx2"/>
                  </a:solidFill>
                </a:rPr>
                <a:t>Other integrations?</a:t>
              </a:r>
            </a:p>
            <a:p>
              <a:pPr marL="285750" indent="-285750">
                <a:buFont typeface="Arial" panose="020B0604020202020204" pitchFamily="34" charset="0"/>
                <a:buChar char="•"/>
              </a:pPr>
              <a:r>
                <a:rPr lang="en-US" sz="1200" dirty="0" smtClean="0">
                  <a:solidFill>
                    <a:schemeClr val="tx2"/>
                  </a:solidFill>
                </a:rPr>
                <a:t>Reporting tools</a:t>
              </a:r>
            </a:p>
          </p:txBody>
        </p:sp>
        <p:cxnSp>
          <p:nvCxnSpPr>
            <p:cNvPr id="20" name="Straight Arrow Connector 19"/>
            <p:cNvCxnSpPr>
              <a:stCxn id="35" idx="3"/>
            </p:cNvCxnSpPr>
            <p:nvPr/>
          </p:nvCxnSpPr>
          <p:spPr>
            <a:xfrm flipV="1">
              <a:off x="9640817" y="4874170"/>
              <a:ext cx="446928" cy="3794"/>
            </a:xfrm>
            <a:prstGeom prst="straightConnector1">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471400" y="1687068"/>
            <a:ext cx="9383216" cy="1297553"/>
            <a:chOff x="471400" y="1687068"/>
            <a:chExt cx="9383216" cy="1297553"/>
          </a:xfrm>
        </p:grpSpPr>
        <p:sp>
          <p:nvSpPr>
            <p:cNvPr id="6" name="TextBox 5"/>
            <p:cNvSpPr txBox="1"/>
            <p:nvPr/>
          </p:nvSpPr>
          <p:spPr>
            <a:xfrm>
              <a:off x="7058664" y="2551684"/>
              <a:ext cx="2795952" cy="380940"/>
            </a:xfrm>
            <a:prstGeom prst="rect">
              <a:avLst/>
            </a:prstGeom>
            <a:noFill/>
          </p:spPr>
          <p:txBody>
            <a:bodyPr wrap="square" rtlCol="0">
              <a:spAutoFit/>
            </a:bodyPr>
            <a:lstStyle/>
            <a:p>
              <a:r>
                <a:rPr lang="en-US" dirty="0" smtClean="0">
                  <a:solidFill>
                    <a:schemeClr val="accent1">
                      <a:lumMod val="75000"/>
                    </a:schemeClr>
                  </a:solidFill>
                </a:rPr>
                <a:t>People Manager Training</a:t>
              </a:r>
              <a:endParaRPr lang="en-US" dirty="0">
                <a:solidFill>
                  <a:schemeClr val="accent1">
                    <a:lumMod val="75000"/>
                  </a:schemeClr>
                </a:solidFill>
              </a:endParaRPr>
            </a:p>
          </p:txBody>
        </p:sp>
        <p:sp>
          <p:nvSpPr>
            <p:cNvPr id="8" name="Rectangle 7"/>
            <p:cNvSpPr/>
            <p:nvPr/>
          </p:nvSpPr>
          <p:spPr>
            <a:xfrm>
              <a:off x="471400" y="1687068"/>
              <a:ext cx="9115891" cy="12975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p:cNvGrpSpPr/>
          <p:nvPr/>
        </p:nvGrpSpPr>
        <p:grpSpPr>
          <a:xfrm>
            <a:off x="467496" y="2966992"/>
            <a:ext cx="9801224" cy="713927"/>
            <a:chOff x="467496" y="2966992"/>
            <a:chExt cx="9801224" cy="713927"/>
          </a:xfrm>
        </p:grpSpPr>
        <p:sp>
          <p:nvSpPr>
            <p:cNvPr id="10" name="TextBox 9"/>
            <p:cNvSpPr txBox="1"/>
            <p:nvPr/>
          </p:nvSpPr>
          <p:spPr>
            <a:xfrm>
              <a:off x="5943197" y="3277584"/>
              <a:ext cx="4325523" cy="369332"/>
            </a:xfrm>
            <a:prstGeom prst="rect">
              <a:avLst/>
            </a:prstGeom>
            <a:noFill/>
          </p:spPr>
          <p:txBody>
            <a:bodyPr wrap="square" rtlCol="0">
              <a:spAutoFit/>
            </a:bodyPr>
            <a:lstStyle/>
            <a:p>
              <a:r>
                <a:rPr lang="en-US" dirty="0" smtClean="0">
                  <a:solidFill>
                    <a:schemeClr val="accent1">
                      <a:lumMod val="75000"/>
                    </a:schemeClr>
                  </a:solidFill>
                </a:rPr>
                <a:t>Town halls, roadshows, meetings, etc.</a:t>
              </a:r>
              <a:endParaRPr lang="en-US" dirty="0">
                <a:solidFill>
                  <a:schemeClr val="accent1">
                    <a:lumMod val="75000"/>
                  </a:schemeClr>
                </a:solidFill>
              </a:endParaRPr>
            </a:p>
          </p:txBody>
        </p:sp>
        <p:sp>
          <p:nvSpPr>
            <p:cNvPr id="27" name="Rectangle 26"/>
            <p:cNvSpPr/>
            <p:nvPr/>
          </p:nvSpPr>
          <p:spPr>
            <a:xfrm>
              <a:off x="467496" y="2966992"/>
              <a:ext cx="9115891" cy="7139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p:cNvGrpSpPr/>
          <p:nvPr/>
        </p:nvGrpSpPr>
        <p:grpSpPr>
          <a:xfrm>
            <a:off x="467495" y="3702414"/>
            <a:ext cx="10221505" cy="683985"/>
            <a:chOff x="467495" y="3702414"/>
            <a:chExt cx="10221505" cy="760011"/>
          </a:xfrm>
        </p:grpSpPr>
        <p:sp>
          <p:nvSpPr>
            <p:cNvPr id="28" name="Rectangle 27"/>
            <p:cNvSpPr/>
            <p:nvPr/>
          </p:nvSpPr>
          <p:spPr>
            <a:xfrm>
              <a:off x="467495" y="3702414"/>
              <a:ext cx="9115891" cy="7139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6411102" y="4052041"/>
              <a:ext cx="4277898" cy="410384"/>
            </a:xfrm>
            <a:prstGeom prst="rect">
              <a:avLst/>
            </a:prstGeom>
            <a:noFill/>
          </p:spPr>
          <p:txBody>
            <a:bodyPr wrap="square" rtlCol="0">
              <a:spAutoFit/>
            </a:bodyPr>
            <a:lstStyle/>
            <a:p>
              <a:r>
                <a:rPr lang="en-US" dirty="0" smtClean="0">
                  <a:solidFill>
                    <a:schemeClr val="accent1">
                      <a:lumMod val="75000"/>
                    </a:schemeClr>
                  </a:solidFill>
                </a:rPr>
                <a:t>Ad hoc, incorporated as needed</a:t>
              </a:r>
              <a:endParaRPr lang="en-US" dirty="0">
                <a:solidFill>
                  <a:schemeClr val="accent1">
                    <a:lumMod val="75000"/>
                  </a:schemeClr>
                </a:solidFill>
              </a:endParaRPr>
            </a:p>
          </p:txBody>
        </p:sp>
      </p:grpSp>
      <p:grpSp>
        <p:nvGrpSpPr>
          <p:cNvPr id="46" name="Group 45"/>
          <p:cNvGrpSpPr/>
          <p:nvPr/>
        </p:nvGrpSpPr>
        <p:grpSpPr>
          <a:xfrm>
            <a:off x="464067" y="5743110"/>
            <a:ext cx="10667203" cy="369332"/>
            <a:chOff x="464067" y="5743110"/>
            <a:chExt cx="10667203" cy="369332"/>
          </a:xfrm>
        </p:grpSpPr>
        <p:sp>
          <p:nvSpPr>
            <p:cNvPr id="30" name="Rectangle 29"/>
            <p:cNvSpPr/>
            <p:nvPr/>
          </p:nvSpPr>
          <p:spPr>
            <a:xfrm>
              <a:off x="464067" y="5751020"/>
              <a:ext cx="9115891" cy="31087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8302726" y="5743110"/>
              <a:ext cx="2828544" cy="369332"/>
            </a:xfrm>
            <a:prstGeom prst="rect">
              <a:avLst/>
            </a:prstGeom>
            <a:noFill/>
          </p:spPr>
          <p:txBody>
            <a:bodyPr wrap="square" rtlCol="0">
              <a:spAutoFit/>
            </a:bodyPr>
            <a:lstStyle/>
            <a:p>
              <a:r>
                <a:rPr lang="en-US" dirty="0" smtClean="0">
                  <a:solidFill>
                    <a:schemeClr val="accent1">
                      <a:lumMod val="75000"/>
                    </a:schemeClr>
                  </a:solidFill>
                </a:rPr>
                <a:t>Post-go live </a:t>
              </a:r>
              <a:endParaRPr lang="en-US" dirty="0">
                <a:solidFill>
                  <a:schemeClr val="accent1">
                    <a:lumMod val="75000"/>
                  </a:schemeClr>
                </a:solidFill>
              </a:endParaRPr>
            </a:p>
          </p:txBody>
        </p:sp>
      </p:grpSp>
      <p:grpSp>
        <p:nvGrpSpPr>
          <p:cNvPr id="42" name="Group 41"/>
          <p:cNvGrpSpPr/>
          <p:nvPr/>
        </p:nvGrpSpPr>
        <p:grpSpPr>
          <a:xfrm>
            <a:off x="464068" y="4339993"/>
            <a:ext cx="9315652" cy="369332"/>
            <a:chOff x="464068" y="4339993"/>
            <a:chExt cx="9315652" cy="369332"/>
          </a:xfrm>
        </p:grpSpPr>
        <p:sp>
          <p:nvSpPr>
            <p:cNvPr id="12" name="TextBox 11"/>
            <p:cNvSpPr txBox="1"/>
            <p:nvPr/>
          </p:nvSpPr>
          <p:spPr>
            <a:xfrm>
              <a:off x="5884843" y="4339993"/>
              <a:ext cx="3894877" cy="369332"/>
            </a:xfrm>
            <a:prstGeom prst="rect">
              <a:avLst/>
            </a:prstGeom>
            <a:noFill/>
          </p:spPr>
          <p:txBody>
            <a:bodyPr wrap="square" rtlCol="0">
              <a:spAutoFit/>
            </a:bodyPr>
            <a:lstStyle/>
            <a:p>
              <a:r>
                <a:rPr lang="en-US" dirty="0" smtClean="0">
                  <a:solidFill>
                    <a:schemeClr val="accent1">
                      <a:lumMod val="75000"/>
                    </a:schemeClr>
                  </a:solidFill>
                </a:rPr>
                <a:t>Town halls, roadshows, meetings, etc.</a:t>
              </a:r>
              <a:endParaRPr lang="en-US" dirty="0">
                <a:solidFill>
                  <a:schemeClr val="accent1">
                    <a:lumMod val="75000"/>
                  </a:schemeClr>
                </a:solidFill>
              </a:endParaRPr>
            </a:p>
          </p:txBody>
        </p:sp>
        <p:sp>
          <p:nvSpPr>
            <p:cNvPr id="33" name="Rectangle 32"/>
            <p:cNvSpPr/>
            <p:nvPr/>
          </p:nvSpPr>
          <p:spPr>
            <a:xfrm>
              <a:off x="464068" y="4382754"/>
              <a:ext cx="9115891" cy="2806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 name="Group 42"/>
          <p:cNvGrpSpPr/>
          <p:nvPr/>
        </p:nvGrpSpPr>
        <p:grpSpPr>
          <a:xfrm>
            <a:off x="464068" y="4678407"/>
            <a:ext cx="9840680" cy="369332"/>
            <a:chOff x="464068" y="4678407"/>
            <a:chExt cx="9840680" cy="369332"/>
          </a:xfrm>
        </p:grpSpPr>
        <p:sp>
          <p:nvSpPr>
            <p:cNvPr id="14" name="TextBox 13"/>
            <p:cNvSpPr txBox="1"/>
            <p:nvPr/>
          </p:nvSpPr>
          <p:spPr>
            <a:xfrm>
              <a:off x="6409871" y="4678407"/>
              <a:ext cx="3894877" cy="369332"/>
            </a:xfrm>
            <a:prstGeom prst="rect">
              <a:avLst/>
            </a:prstGeom>
            <a:noFill/>
          </p:spPr>
          <p:txBody>
            <a:bodyPr wrap="square" rtlCol="0">
              <a:spAutoFit/>
            </a:bodyPr>
            <a:lstStyle/>
            <a:p>
              <a:r>
                <a:rPr lang="en-US" dirty="0" smtClean="0">
                  <a:solidFill>
                    <a:schemeClr val="tx2"/>
                  </a:solidFill>
                </a:rPr>
                <a:t>Hands on learning for end users</a:t>
              </a:r>
              <a:endParaRPr lang="en-US" dirty="0">
                <a:solidFill>
                  <a:schemeClr val="tx2"/>
                </a:solidFill>
              </a:endParaRPr>
            </a:p>
          </p:txBody>
        </p:sp>
        <p:sp>
          <p:nvSpPr>
            <p:cNvPr id="35" name="Rectangle 34"/>
            <p:cNvSpPr/>
            <p:nvPr/>
          </p:nvSpPr>
          <p:spPr>
            <a:xfrm>
              <a:off x="464068" y="4696413"/>
              <a:ext cx="9115891" cy="35034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p:cNvGrpSpPr/>
          <p:nvPr/>
        </p:nvGrpSpPr>
        <p:grpSpPr>
          <a:xfrm>
            <a:off x="464068" y="5061956"/>
            <a:ext cx="10468725" cy="369332"/>
            <a:chOff x="464068" y="5061956"/>
            <a:chExt cx="10468725" cy="369332"/>
          </a:xfrm>
        </p:grpSpPr>
        <p:sp>
          <p:nvSpPr>
            <p:cNvPr id="16" name="TextBox 15"/>
            <p:cNvSpPr txBox="1"/>
            <p:nvPr/>
          </p:nvSpPr>
          <p:spPr>
            <a:xfrm>
              <a:off x="5279122" y="5061956"/>
              <a:ext cx="5653671" cy="369332"/>
            </a:xfrm>
            <a:prstGeom prst="rect">
              <a:avLst/>
            </a:prstGeom>
            <a:noFill/>
          </p:spPr>
          <p:txBody>
            <a:bodyPr wrap="square" rtlCol="0">
              <a:spAutoFit/>
            </a:bodyPr>
            <a:lstStyle/>
            <a:p>
              <a:r>
                <a:rPr lang="en-US" dirty="0" smtClean="0">
                  <a:solidFill>
                    <a:schemeClr val="accent1">
                      <a:lumMod val="75000"/>
                    </a:schemeClr>
                  </a:solidFill>
                </a:rPr>
                <a:t>Hands on learning for system administrators</a:t>
              </a:r>
              <a:endParaRPr lang="en-US" dirty="0">
                <a:solidFill>
                  <a:schemeClr val="accent1">
                    <a:lumMod val="75000"/>
                  </a:schemeClr>
                </a:solidFill>
              </a:endParaRPr>
            </a:p>
          </p:txBody>
        </p:sp>
        <p:sp>
          <p:nvSpPr>
            <p:cNvPr id="37" name="Rectangle 36"/>
            <p:cNvSpPr/>
            <p:nvPr/>
          </p:nvSpPr>
          <p:spPr>
            <a:xfrm>
              <a:off x="464068" y="5077719"/>
              <a:ext cx="9115891" cy="3503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p:cNvGrpSpPr/>
          <p:nvPr/>
        </p:nvGrpSpPr>
        <p:grpSpPr>
          <a:xfrm>
            <a:off x="464067" y="5416698"/>
            <a:ext cx="10223702" cy="369332"/>
            <a:chOff x="464067" y="5416698"/>
            <a:chExt cx="10223702" cy="369332"/>
          </a:xfrm>
        </p:grpSpPr>
        <p:sp>
          <p:nvSpPr>
            <p:cNvPr id="38" name="Rectangle 37"/>
            <p:cNvSpPr/>
            <p:nvPr/>
          </p:nvSpPr>
          <p:spPr>
            <a:xfrm>
              <a:off x="464067" y="5448436"/>
              <a:ext cx="9115891" cy="2738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6409871" y="5416698"/>
              <a:ext cx="4277898" cy="369332"/>
            </a:xfrm>
            <a:prstGeom prst="rect">
              <a:avLst/>
            </a:prstGeom>
            <a:noFill/>
          </p:spPr>
          <p:txBody>
            <a:bodyPr wrap="square" rtlCol="0">
              <a:spAutoFit/>
            </a:bodyPr>
            <a:lstStyle/>
            <a:p>
              <a:r>
                <a:rPr lang="en-US" dirty="0" smtClean="0">
                  <a:solidFill>
                    <a:schemeClr val="accent1">
                      <a:lumMod val="75000"/>
                    </a:schemeClr>
                  </a:solidFill>
                </a:rPr>
                <a:t>Ad hoc, incorporated as needed</a:t>
              </a:r>
              <a:endParaRPr lang="en-US" dirty="0">
                <a:solidFill>
                  <a:schemeClr val="accent1">
                    <a:lumMod val="75000"/>
                  </a:schemeClr>
                </a:solidFill>
              </a:endParaRPr>
            </a:p>
          </p:txBody>
        </p:sp>
      </p:grpSp>
    </p:spTree>
    <p:extLst>
      <p:ext uri="{BB962C8B-B14F-4D97-AF65-F5344CB8AC3E}">
        <p14:creationId xmlns:p14="http://schemas.microsoft.com/office/powerpoint/2010/main" val="3337666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6"/>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4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6"/>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283756" cy="6858000"/>
          </a:xfrm>
          <a:prstGeom prst="rect">
            <a:avLst/>
          </a:prstGeom>
        </p:spPr>
      </p:pic>
      <p:sp>
        <p:nvSpPr>
          <p:cNvPr id="9" name="TextBox 8"/>
          <p:cNvSpPr txBox="1"/>
          <p:nvPr/>
        </p:nvSpPr>
        <p:spPr>
          <a:xfrm>
            <a:off x="999067" y="6553200"/>
            <a:ext cx="770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5BFD5"/>
              </a:solidFill>
              <a:effectLst/>
              <a:uLnTx/>
              <a:uFillTx/>
              <a:latin typeface="Calibri" panose="020F0502020204030204"/>
              <a:ea typeface="+mn-ea"/>
              <a:cs typeface="+mn-cs"/>
            </a:endParaRPr>
          </a:p>
        </p:txBody>
      </p:sp>
      <p:sp>
        <p:nvSpPr>
          <p:cNvPr id="16" name="TextBox 15"/>
          <p:cNvSpPr txBox="1"/>
          <p:nvPr/>
        </p:nvSpPr>
        <p:spPr>
          <a:xfrm>
            <a:off x="8459728" y="6614755"/>
            <a:ext cx="12512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lumMod val="50000"/>
                  </a:srgbClr>
                </a:solidFill>
                <a:effectLst/>
                <a:uLnTx/>
                <a:uFillTx/>
                <a:latin typeface="Calibri" panose="020F0502020204030204"/>
                <a:ea typeface="+mn-ea"/>
                <a:cs typeface="+mn-cs"/>
              </a:rPr>
              <a:t>Rev </a:t>
            </a:r>
            <a:r>
              <a:rPr lang="en-US" sz="1000" dirty="0" smtClean="0">
                <a:solidFill>
                  <a:srgbClr val="FFFFFF">
                    <a:lumMod val="50000"/>
                  </a:srgbClr>
                </a:solidFill>
                <a:latin typeface="Calibri" panose="020F0502020204030204"/>
              </a:rPr>
              <a:t>5.29</a:t>
            </a:r>
            <a:r>
              <a:rPr kumimoji="0" lang="en-US" sz="1000" b="0" i="0" u="none" strike="noStrike" kern="1200" cap="none" spc="0" normalizeH="0" baseline="0" noProof="0" dirty="0" smtClean="0">
                <a:ln>
                  <a:noFill/>
                </a:ln>
                <a:solidFill>
                  <a:srgbClr val="FFFFFF">
                    <a:lumMod val="50000"/>
                  </a:srgbClr>
                </a:solidFill>
                <a:effectLst/>
                <a:uLnTx/>
                <a:uFillTx/>
                <a:latin typeface="Calibri" panose="020F0502020204030204"/>
                <a:ea typeface="+mn-ea"/>
                <a:cs typeface="+mn-cs"/>
              </a:rPr>
              <a:t>.2019</a:t>
            </a:r>
            <a:endParaRPr kumimoji="0" lang="en-US"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15" name="Title 1"/>
          <p:cNvSpPr>
            <a:spLocks noGrp="1"/>
          </p:cNvSpPr>
          <p:nvPr>
            <p:ph type="title"/>
          </p:nvPr>
        </p:nvSpPr>
        <p:spPr>
          <a:xfrm>
            <a:off x="5533478" y="383478"/>
            <a:ext cx="4177472" cy="753763"/>
          </a:xfrm>
        </p:spPr>
        <p:txBody>
          <a:bodyPr>
            <a:normAutofit/>
          </a:bodyPr>
          <a:lstStyle/>
          <a:p>
            <a:pPr algn="ctr"/>
            <a:r>
              <a:rPr lang="en-US" sz="2400" b="1" dirty="0" smtClean="0"/>
              <a:t>Training Roadmap Draft</a:t>
            </a:r>
            <a:endParaRPr lang="en-US" sz="2400" b="1" dirty="0"/>
          </a:p>
        </p:txBody>
      </p:sp>
      <p:sp>
        <p:nvSpPr>
          <p:cNvPr id="2" name="TextBox 1"/>
          <p:cNvSpPr txBox="1"/>
          <p:nvPr/>
        </p:nvSpPr>
        <p:spPr>
          <a:xfrm>
            <a:off x="9922958" y="2475676"/>
            <a:ext cx="1388802" cy="1323439"/>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lumMod val="65000"/>
                  </a:srgbClr>
                </a:solidFill>
                <a:effectLst/>
                <a:uLnTx/>
                <a:uFillTx/>
                <a:latin typeface="Calibri" panose="020F0502020204030204"/>
                <a:ea typeface="+mn-ea"/>
                <a:cs typeface="+mn-cs"/>
              </a:rPr>
              <a:t>This outlines the high level strategy and is subject to change</a:t>
            </a:r>
            <a:endParaRPr kumimoji="0" lang="en-US" sz="1600" b="0" i="0" u="none" strike="noStrike" kern="1200" cap="none" spc="0" normalizeH="0" baseline="0" noProof="0" dirty="0">
              <a:ln>
                <a:noFill/>
              </a:ln>
              <a:solidFill>
                <a:srgbClr val="FFFFFF">
                  <a:lumMod val="6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5482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Strategy</a:t>
            </a:r>
            <a:endParaRPr lang="en-US" dirty="0"/>
          </a:p>
        </p:txBody>
      </p:sp>
      <p:sp>
        <p:nvSpPr>
          <p:cNvPr id="5" name="Rectangle 4"/>
          <p:cNvSpPr/>
          <p:nvPr/>
        </p:nvSpPr>
        <p:spPr>
          <a:xfrm>
            <a:off x="537633" y="1321475"/>
            <a:ext cx="3439886" cy="6008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smtClean="0"/>
              <a:t>Deployment Plan</a:t>
            </a:r>
            <a:endParaRPr lang="en-US" sz="2800" dirty="0"/>
          </a:p>
        </p:txBody>
      </p:sp>
      <p:pic>
        <p:nvPicPr>
          <p:cNvPr id="6" name="Picture 5"/>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221710" y="2011784"/>
            <a:ext cx="755809" cy="755809"/>
          </a:xfrm>
          <a:prstGeom prst="rect">
            <a:avLst/>
          </a:prstGeom>
        </p:spPr>
      </p:pic>
      <p:sp>
        <p:nvSpPr>
          <p:cNvPr id="7" name="TextBox 6"/>
          <p:cNvSpPr txBox="1"/>
          <p:nvPr/>
        </p:nvSpPr>
        <p:spPr>
          <a:xfrm>
            <a:off x="2156963" y="2767593"/>
            <a:ext cx="2885305" cy="369332"/>
          </a:xfrm>
          <a:prstGeom prst="rect">
            <a:avLst/>
          </a:prstGeom>
          <a:noFill/>
        </p:spPr>
        <p:txBody>
          <a:bodyPr wrap="square" rtlCol="0">
            <a:spAutoFit/>
          </a:bodyPr>
          <a:lstStyle/>
          <a:p>
            <a:r>
              <a:rPr lang="en-US" dirty="0" smtClean="0">
                <a:solidFill>
                  <a:schemeClr val="accent2"/>
                </a:solidFill>
              </a:rPr>
              <a:t>Proposals &amp; Awards In </a:t>
            </a:r>
            <a:r>
              <a:rPr lang="en-US" dirty="0" err="1" smtClean="0">
                <a:solidFill>
                  <a:schemeClr val="accent2"/>
                </a:solidFill>
              </a:rPr>
              <a:t>Coeus</a:t>
            </a:r>
            <a:endParaRPr lang="en-US" dirty="0">
              <a:solidFill>
                <a:schemeClr val="accent2"/>
              </a:solidFill>
            </a:endParaRPr>
          </a:p>
        </p:txBody>
      </p:sp>
      <p:cxnSp>
        <p:nvCxnSpPr>
          <p:cNvPr id="8" name="Straight Arrow Connector 7"/>
          <p:cNvCxnSpPr/>
          <p:nvPr/>
        </p:nvCxnSpPr>
        <p:spPr>
          <a:xfrm>
            <a:off x="4734701" y="2389688"/>
            <a:ext cx="1724297"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6180" y="1935460"/>
            <a:ext cx="2447109" cy="832133"/>
          </a:xfrm>
          <a:prstGeom prst="rect">
            <a:avLst/>
          </a:prstGeom>
        </p:spPr>
      </p:pic>
      <p:sp>
        <p:nvSpPr>
          <p:cNvPr id="10" name="Rectangle 9"/>
          <p:cNvSpPr/>
          <p:nvPr/>
        </p:nvSpPr>
        <p:spPr>
          <a:xfrm>
            <a:off x="467496" y="3299474"/>
            <a:ext cx="3439886" cy="6008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smtClean="0"/>
              <a:t>Hyper Care Plan</a:t>
            </a:r>
            <a:endParaRPr lang="en-US" sz="2800" dirty="0"/>
          </a:p>
        </p:txBody>
      </p:sp>
      <p:pic>
        <p:nvPicPr>
          <p:cNvPr id="11" name="Picture 10"/>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631727" y="4553496"/>
            <a:ext cx="668723" cy="668723"/>
          </a:xfrm>
          <a:prstGeom prst="rect">
            <a:avLst/>
          </a:prstGeom>
        </p:spPr>
      </p:pic>
      <p:pic>
        <p:nvPicPr>
          <p:cNvPr id="12" name="Picture 11"/>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381187" y="4055014"/>
            <a:ext cx="668723" cy="668723"/>
          </a:xfrm>
          <a:prstGeom prst="rect">
            <a:avLst/>
          </a:prstGeom>
        </p:spPr>
      </p:pic>
      <p:pic>
        <p:nvPicPr>
          <p:cNvPr id="13" name="Picture 12"/>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026758" y="4132587"/>
            <a:ext cx="620225" cy="620225"/>
          </a:xfrm>
          <a:prstGeom prst="rect">
            <a:avLst/>
          </a:prstGeom>
        </p:spPr>
      </p:pic>
      <p:sp>
        <p:nvSpPr>
          <p:cNvPr id="14" name="TextBox 13"/>
          <p:cNvSpPr txBox="1"/>
          <p:nvPr/>
        </p:nvSpPr>
        <p:spPr>
          <a:xfrm>
            <a:off x="3977519" y="4055014"/>
            <a:ext cx="4574298" cy="646331"/>
          </a:xfrm>
          <a:prstGeom prst="rect">
            <a:avLst/>
          </a:prstGeom>
          <a:noFill/>
        </p:spPr>
        <p:txBody>
          <a:bodyPr wrap="square" rtlCol="0">
            <a:spAutoFit/>
          </a:bodyPr>
          <a:lstStyle/>
          <a:p>
            <a:r>
              <a:rPr lang="en-US" dirty="0" smtClean="0">
                <a:solidFill>
                  <a:schemeClr val="accent2"/>
                </a:solidFill>
              </a:rPr>
              <a:t>Expedient support to Users during deployment </a:t>
            </a:r>
            <a:r>
              <a:rPr lang="en-US" b="1" dirty="0" smtClean="0">
                <a:solidFill>
                  <a:schemeClr val="accent2"/>
                </a:solidFill>
              </a:rPr>
              <a:t>AND</a:t>
            </a:r>
            <a:r>
              <a:rPr lang="en-US" dirty="0" smtClean="0">
                <a:solidFill>
                  <a:schemeClr val="accent2"/>
                </a:solidFill>
              </a:rPr>
              <a:t> after </a:t>
            </a:r>
            <a:r>
              <a:rPr lang="en-US" dirty="0" err="1" smtClean="0">
                <a:solidFill>
                  <a:schemeClr val="accent2"/>
                </a:solidFill>
              </a:rPr>
              <a:t>Kuali</a:t>
            </a:r>
            <a:r>
              <a:rPr lang="en-US" dirty="0" smtClean="0">
                <a:solidFill>
                  <a:schemeClr val="accent2"/>
                </a:solidFill>
              </a:rPr>
              <a:t> go live</a:t>
            </a:r>
            <a:endParaRPr lang="en-US" dirty="0">
              <a:solidFill>
                <a:schemeClr val="accent2"/>
              </a:solidFill>
            </a:endParaRPr>
          </a:p>
        </p:txBody>
      </p:sp>
      <p:sp>
        <p:nvSpPr>
          <p:cNvPr id="15" name="Rectangle 14"/>
          <p:cNvSpPr/>
          <p:nvPr/>
        </p:nvSpPr>
        <p:spPr>
          <a:xfrm>
            <a:off x="470328" y="5342682"/>
            <a:ext cx="3439886" cy="6008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smtClean="0"/>
              <a:t>User Support Plan</a:t>
            </a:r>
            <a:endParaRPr lang="en-US" sz="2800" dirty="0"/>
          </a:p>
        </p:txBody>
      </p:sp>
      <p:sp>
        <p:nvSpPr>
          <p:cNvPr id="16" name="TextBox 15"/>
          <p:cNvSpPr txBox="1"/>
          <p:nvPr/>
        </p:nvSpPr>
        <p:spPr>
          <a:xfrm>
            <a:off x="2381187" y="6106123"/>
            <a:ext cx="5655688" cy="369332"/>
          </a:xfrm>
          <a:prstGeom prst="rect">
            <a:avLst/>
          </a:prstGeom>
          <a:noFill/>
        </p:spPr>
        <p:txBody>
          <a:bodyPr wrap="square" rtlCol="0">
            <a:spAutoFit/>
          </a:bodyPr>
          <a:lstStyle/>
          <a:p>
            <a:r>
              <a:rPr lang="en-US" i="1" dirty="0" smtClean="0">
                <a:solidFill>
                  <a:schemeClr val="accent2"/>
                </a:solidFill>
              </a:rPr>
              <a:t>What does support look like after the stabilization period?</a:t>
            </a:r>
            <a:endParaRPr lang="en-US" i="1" dirty="0">
              <a:solidFill>
                <a:schemeClr val="accent2"/>
              </a:solidFill>
            </a:endParaRPr>
          </a:p>
        </p:txBody>
      </p:sp>
      <p:pic>
        <p:nvPicPr>
          <p:cNvPr id="17" name="Picture 16"/>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060165" y="5911220"/>
            <a:ext cx="759138" cy="759138"/>
          </a:xfrm>
          <a:prstGeom prst="rect">
            <a:avLst/>
          </a:prstGeom>
        </p:spPr>
      </p:pic>
    </p:spTree>
    <p:extLst>
      <p:ext uri="{BB962C8B-B14F-4D97-AF65-F5344CB8AC3E}">
        <p14:creationId xmlns:p14="http://schemas.microsoft.com/office/powerpoint/2010/main" val="85165725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196546302"/>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b="1" dirty="0"/>
              <a:t>New system is launched!</a:t>
            </a:r>
            <a:endParaRPr lang="en-US" dirty="0"/>
          </a:p>
        </p:txBody>
      </p:sp>
      <p:sp>
        <p:nvSpPr>
          <p:cNvPr id="4" name="Slide Number Placeholder 3"/>
          <p:cNvSpPr>
            <a:spLocks noGrp="1"/>
          </p:cNvSpPr>
          <p:nvPr>
            <p:ph type="sldNum" sz="quarter" idx="12"/>
          </p:nvPr>
        </p:nvSpPr>
        <p:spPr/>
        <p:txBody>
          <a:bodyPr/>
          <a:lstStyle/>
          <a:p>
            <a:fld id="{D0A8BD7E-3FB1-46E0-88A2-F69CF9BE5AD3}" type="slidenum">
              <a:rPr lang="en-US" smtClean="0"/>
              <a:pPr/>
              <a:t>37</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Go Live</a:t>
            </a:r>
            <a:endParaRPr lang="en-US" dirty="0"/>
          </a:p>
        </p:txBody>
      </p:sp>
      <p:sp>
        <p:nvSpPr>
          <p:cNvPr id="6" name="TextBox 5"/>
          <p:cNvSpPr txBox="1"/>
          <p:nvPr/>
        </p:nvSpPr>
        <p:spPr>
          <a:xfrm>
            <a:off x="7785738" y="5510904"/>
            <a:ext cx="1256323" cy="253916"/>
          </a:xfrm>
          <a:prstGeom prst="rect">
            <a:avLst/>
          </a:prstGeom>
          <a:noFill/>
        </p:spPr>
        <p:txBody>
          <a:bodyPr wrap="square" rtlCol="0">
            <a:spAutoFit/>
          </a:bodyPr>
          <a:lstStyle/>
          <a:p>
            <a:pPr algn="ctr"/>
            <a:r>
              <a:rPr lang="en-US" sz="1050" b="1" dirty="0" smtClean="0">
                <a:solidFill>
                  <a:schemeClr val="accent2"/>
                </a:solidFill>
              </a:rPr>
              <a:t>Jan 21, 2020</a:t>
            </a:r>
            <a:endParaRPr lang="en-US" sz="1050" b="1" dirty="0">
              <a:solidFill>
                <a:schemeClr val="accent2"/>
              </a:solidFill>
            </a:endParaRPr>
          </a:p>
        </p:txBody>
      </p:sp>
    </p:spTree>
    <p:extLst>
      <p:ext uri="{BB962C8B-B14F-4D97-AF65-F5344CB8AC3E}">
        <p14:creationId xmlns:p14="http://schemas.microsoft.com/office/powerpoint/2010/main" val="62479699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o Live</a:t>
            </a:r>
            <a:endParaRPr lang="en-US" dirty="0"/>
          </a:p>
        </p:txBody>
      </p:sp>
      <p:pic>
        <p:nvPicPr>
          <p:cNvPr id="7" name="Content Placehold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101479" y="1824373"/>
            <a:ext cx="5465075" cy="1121666"/>
          </a:xfrm>
        </p:spPr>
      </p:pic>
      <p:sp>
        <p:nvSpPr>
          <p:cNvPr id="6" name="Text Placeholder 5"/>
          <p:cNvSpPr>
            <a:spLocks noGrp="1"/>
          </p:cNvSpPr>
          <p:nvPr>
            <p:ph type="body" sz="quarter" idx="13"/>
          </p:nvPr>
        </p:nvSpPr>
        <p:spPr/>
        <p:txBody>
          <a:bodyPr/>
          <a:lstStyle/>
          <a:p>
            <a:r>
              <a:rPr lang="en-US" dirty="0" smtClean="0"/>
              <a:t>“Flip the Switch” &amp; Celebrate!</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1100" y="2531677"/>
            <a:ext cx="4197872" cy="4197872"/>
          </a:xfrm>
          <a:prstGeom prst="rect">
            <a:avLst/>
          </a:prstGeom>
        </p:spPr>
      </p:pic>
    </p:spTree>
    <p:extLst>
      <p:ext uri="{BB962C8B-B14F-4D97-AF65-F5344CB8AC3E}">
        <p14:creationId xmlns:p14="http://schemas.microsoft.com/office/powerpoint/2010/main" val="13965961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1748206310"/>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Deploying and monitoring the system and processes with vendor support</a:t>
            </a:r>
          </a:p>
        </p:txBody>
      </p:sp>
      <p:sp>
        <p:nvSpPr>
          <p:cNvPr id="4" name="Slide Number Placeholder 3"/>
          <p:cNvSpPr>
            <a:spLocks noGrp="1"/>
          </p:cNvSpPr>
          <p:nvPr>
            <p:ph type="sldNum" sz="quarter" idx="12"/>
          </p:nvPr>
        </p:nvSpPr>
        <p:spPr/>
        <p:txBody>
          <a:bodyPr/>
          <a:lstStyle/>
          <a:p>
            <a:fld id="{D0A8BD7E-3FB1-46E0-88A2-F69CF9BE5AD3}" type="slidenum">
              <a:rPr lang="en-US" smtClean="0"/>
              <a:pPr/>
              <a:t>39</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Realization</a:t>
            </a:r>
            <a:endParaRPr lang="en-US" dirty="0"/>
          </a:p>
        </p:txBody>
      </p:sp>
      <p:sp>
        <p:nvSpPr>
          <p:cNvPr id="6" name="TextBox 5"/>
          <p:cNvSpPr txBox="1"/>
          <p:nvPr/>
        </p:nvSpPr>
        <p:spPr>
          <a:xfrm>
            <a:off x="9121638" y="5510905"/>
            <a:ext cx="1176746" cy="253916"/>
          </a:xfrm>
          <a:prstGeom prst="rect">
            <a:avLst/>
          </a:prstGeom>
          <a:noFill/>
        </p:spPr>
        <p:txBody>
          <a:bodyPr wrap="square" rtlCol="0">
            <a:spAutoFit/>
          </a:bodyPr>
          <a:lstStyle/>
          <a:p>
            <a:pPr algn="ctr"/>
            <a:r>
              <a:rPr lang="en-US" sz="1050" dirty="0" smtClean="0">
                <a:solidFill>
                  <a:srgbClr val="2E75B6"/>
                </a:solidFill>
              </a:rPr>
              <a:t>Jan – </a:t>
            </a:r>
            <a:r>
              <a:rPr lang="en-US" sz="1050" dirty="0">
                <a:solidFill>
                  <a:srgbClr val="2E75B6"/>
                </a:solidFill>
              </a:rPr>
              <a:t>Mar</a:t>
            </a:r>
            <a:r>
              <a:rPr lang="en-US" sz="1050" dirty="0" smtClean="0">
                <a:solidFill>
                  <a:srgbClr val="2E75B6"/>
                </a:solidFill>
              </a:rPr>
              <a:t> 2020</a:t>
            </a:r>
            <a:endParaRPr lang="en-US" sz="1050" dirty="0">
              <a:solidFill>
                <a:srgbClr val="2E75B6"/>
              </a:solidFill>
            </a:endParaRPr>
          </a:p>
        </p:txBody>
      </p:sp>
    </p:spTree>
    <p:extLst>
      <p:ext uri="{BB962C8B-B14F-4D97-AF65-F5344CB8AC3E}">
        <p14:creationId xmlns:p14="http://schemas.microsoft.com/office/powerpoint/2010/main" val="36709893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1763" y="1824373"/>
            <a:ext cx="10870163" cy="4623079"/>
            <a:chOff x="811763" y="1824373"/>
            <a:chExt cx="10870163" cy="4623079"/>
          </a:xfrm>
        </p:grpSpPr>
        <p:sp>
          <p:nvSpPr>
            <p:cNvPr id="4103" name="Freeform 7"/>
            <p:cNvSpPr>
              <a:spLocks/>
            </p:cNvSpPr>
            <p:nvPr/>
          </p:nvSpPr>
          <p:spPr bwMode="auto">
            <a:xfrm>
              <a:off x="811763" y="1824373"/>
              <a:ext cx="3622087" cy="4623079"/>
            </a:xfrm>
            <a:custGeom>
              <a:avLst/>
              <a:gdLst/>
              <a:ahLst/>
              <a:cxnLst>
                <a:cxn ang="0">
                  <a:pos x="1364" y="658"/>
                </a:cxn>
                <a:cxn ang="0">
                  <a:pos x="1406" y="664"/>
                </a:cxn>
                <a:cxn ang="0">
                  <a:pos x="1444" y="682"/>
                </a:cxn>
                <a:cxn ang="0">
                  <a:pos x="1478" y="706"/>
                </a:cxn>
                <a:cxn ang="0">
                  <a:pos x="1542" y="762"/>
                </a:cxn>
                <a:cxn ang="0">
                  <a:pos x="1576" y="788"/>
                </a:cxn>
                <a:cxn ang="0">
                  <a:pos x="1612" y="806"/>
                </a:cxn>
                <a:cxn ang="0">
                  <a:pos x="1654" y="812"/>
                </a:cxn>
                <a:cxn ang="0">
                  <a:pos x="1674" y="810"/>
                </a:cxn>
                <a:cxn ang="0">
                  <a:pos x="1712" y="802"/>
                </a:cxn>
                <a:cxn ang="0">
                  <a:pos x="1746" y="784"/>
                </a:cxn>
                <a:cxn ang="0">
                  <a:pos x="1776" y="758"/>
                </a:cxn>
                <a:cxn ang="0">
                  <a:pos x="1804" y="726"/>
                </a:cxn>
                <a:cxn ang="0">
                  <a:pos x="1826" y="688"/>
                </a:cxn>
                <a:cxn ang="0">
                  <a:pos x="1842" y="644"/>
                </a:cxn>
                <a:cxn ang="0">
                  <a:pos x="1854" y="596"/>
                </a:cxn>
                <a:cxn ang="0">
                  <a:pos x="1856" y="0"/>
                </a:cxn>
                <a:cxn ang="0">
                  <a:pos x="2" y="0"/>
                </a:cxn>
                <a:cxn ang="0">
                  <a:pos x="0" y="1856"/>
                </a:cxn>
                <a:cxn ang="0">
                  <a:pos x="1856" y="1284"/>
                </a:cxn>
                <a:cxn ang="0">
                  <a:pos x="1854" y="1258"/>
                </a:cxn>
                <a:cxn ang="0">
                  <a:pos x="1842" y="1212"/>
                </a:cxn>
                <a:cxn ang="0">
                  <a:pos x="1826" y="1168"/>
                </a:cxn>
                <a:cxn ang="0">
                  <a:pos x="1804" y="1130"/>
                </a:cxn>
                <a:cxn ang="0">
                  <a:pos x="1776" y="1098"/>
                </a:cxn>
                <a:cxn ang="0">
                  <a:pos x="1746" y="1072"/>
                </a:cxn>
                <a:cxn ang="0">
                  <a:pos x="1712" y="1054"/>
                </a:cxn>
                <a:cxn ang="0">
                  <a:pos x="1674" y="1046"/>
                </a:cxn>
                <a:cxn ang="0">
                  <a:pos x="1656" y="1044"/>
                </a:cxn>
                <a:cxn ang="0">
                  <a:pos x="1612" y="1050"/>
                </a:cxn>
                <a:cxn ang="0">
                  <a:pos x="1576" y="1068"/>
                </a:cxn>
                <a:cxn ang="0">
                  <a:pos x="1542" y="1092"/>
                </a:cxn>
                <a:cxn ang="0">
                  <a:pos x="1478" y="1150"/>
                </a:cxn>
                <a:cxn ang="0">
                  <a:pos x="1444" y="1174"/>
                </a:cxn>
                <a:cxn ang="0">
                  <a:pos x="1406" y="1192"/>
                </a:cxn>
                <a:cxn ang="0">
                  <a:pos x="1364" y="1198"/>
                </a:cxn>
                <a:cxn ang="0">
                  <a:pos x="1344" y="1198"/>
                </a:cxn>
                <a:cxn ang="0">
                  <a:pos x="1304" y="1186"/>
                </a:cxn>
                <a:cxn ang="0">
                  <a:pos x="1268" y="1166"/>
                </a:cxn>
                <a:cxn ang="0">
                  <a:pos x="1236" y="1136"/>
                </a:cxn>
                <a:cxn ang="0">
                  <a:pos x="1208" y="1100"/>
                </a:cxn>
                <a:cxn ang="0">
                  <a:pos x="1186" y="1056"/>
                </a:cxn>
                <a:cxn ang="0">
                  <a:pos x="1170" y="1008"/>
                </a:cxn>
                <a:cxn ang="0">
                  <a:pos x="1162" y="956"/>
                </a:cxn>
                <a:cxn ang="0">
                  <a:pos x="1162" y="928"/>
                </a:cxn>
                <a:cxn ang="0">
                  <a:pos x="1166" y="874"/>
                </a:cxn>
                <a:cxn ang="0">
                  <a:pos x="1178" y="822"/>
                </a:cxn>
                <a:cxn ang="0">
                  <a:pos x="1196" y="776"/>
                </a:cxn>
                <a:cxn ang="0">
                  <a:pos x="1222" y="736"/>
                </a:cxn>
                <a:cxn ang="0">
                  <a:pos x="1252" y="704"/>
                </a:cxn>
                <a:cxn ang="0">
                  <a:pos x="1286" y="678"/>
                </a:cxn>
                <a:cxn ang="0">
                  <a:pos x="1324" y="662"/>
                </a:cxn>
                <a:cxn ang="0">
                  <a:pos x="1364" y="658"/>
                </a:cxn>
              </a:cxnLst>
              <a:rect l="0" t="0" r="r" b="b"/>
              <a:pathLst>
                <a:path w="1856" h="1856">
                  <a:moveTo>
                    <a:pt x="1364" y="658"/>
                  </a:moveTo>
                  <a:lnTo>
                    <a:pt x="1364" y="658"/>
                  </a:lnTo>
                  <a:lnTo>
                    <a:pt x="1386" y="658"/>
                  </a:lnTo>
                  <a:lnTo>
                    <a:pt x="1406" y="664"/>
                  </a:lnTo>
                  <a:lnTo>
                    <a:pt x="1426" y="672"/>
                  </a:lnTo>
                  <a:lnTo>
                    <a:pt x="1444" y="682"/>
                  </a:lnTo>
                  <a:lnTo>
                    <a:pt x="1462" y="694"/>
                  </a:lnTo>
                  <a:lnTo>
                    <a:pt x="1478" y="706"/>
                  </a:lnTo>
                  <a:lnTo>
                    <a:pt x="1510" y="734"/>
                  </a:lnTo>
                  <a:lnTo>
                    <a:pt x="1542" y="762"/>
                  </a:lnTo>
                  <a:lnTo>
                    <a:pt x="1558" y="776"/>
                  </a:lnTo>
                  <a:lnTo>
                    <a:pt x="1576" y="788"/>
                  </a:lnTo>
                  <a:lnTo>
                    <a:pt x="1594" y="798"/>
                  </a:lnTo>
                  <a:lnTo>
                    <a:pt x="1612" y="806"/>
                  </a:lnTo>
                  <a:lnTo>
                    <a:pt x="1634" y="810"/>
                  </a:lnTo>
                  <a:lnTo>
                    <a:pt x="1654" y="812"/>
                  </a:lnTo>
                  <a:lnTo>
                    <a:pt x="1654" y="812"/>
                  </a:lnTo>
                  <a:lnTo>
                    <a:pt x="1674" y="810"/>
                  </a:lnTo>
                  <a:lnTo>
                    <a:pt x="1694" y="808"/>
                  </a:lnTo>
                  <a:lnTo>
                    <a:pt x="1712" y="802"/>
                  </a:lnTo>
                  <a:lnTo>
                    <a:pt x="1728" y="794"/>
                  </a:lnTo>
                  <a:lnTo>
                    <a:pt x="1746" y="784"/>
                  </a:lnTo>
                  <a:lnTo>
                    <a:pt x="1762" y="772"/>
                  </a:lnTo>
                  <a:lnTo>
                    <a:pt x="1776" y="758"/>
                  </a:lnTo>
                  <a:lnTo>
                    <a:pt x="1790" y="742"/>
                  </a:lnTo>
                  <a:lnTo>
                    <a:pt x="1804" y="726"/>
                  </a:lnTo>
                  <a:lnTo>
                    <a:pt x="1816" y="708"/>
                  </a:lnTo>
                  <a:lnTo>
                    <a:pt x="1826" y="688"/>
                  </a:lnTo>
                  <a:lnTo>
                    <a:pt x="1836" y="666"/>
                  </a:lnTo>
                  <a:lnTo>
                    <a:pt x="1842" y="644"/>
                  </a:lnTo>
                  <a:lnTo>
                    <a:pt x="1850" y="620"/>
                  </a:lnTo>
                  <a:lnTo>
                    <a:pt x="1854" y="596"/>
                  </a:lnTo>
                  <a:lnTo>
                    <a:pt x="1856" y="572"/>
                  </a:lnTo>
                  <a:lnTo>
                    <a:pt x="1856" y="0"/>
                  </a:lnTo>
                  <a:lnTo>
                    <a:pt x="2" y="0"/>
                  </a:lnTo>
                  <a:lnTo>
                    <a:pt x="2" y="0"/>
                  </a:lnTo>
                  <a:lnTo>
                    <a:pt x="0" y="0"/>
                  </a:lnTo>
                  <a:lnTo>
                    <a:pt x="0" y="1856"/>
                  </a:lnTo>
                  <a:lnTo>
                    <a:pt x="1856" y="1856"/>
                  </a:lnTo>
                  <a:lnTo>
                    <a:pt x="1856" y="1284"/>
                  </a:lnTo>
                  <a:lnTo>
                    <a:pt x="1856" y="1284"/>
                  </a:lnTo>
                  <a:lnTo>
                    <a:pt x="1854" y="1258"/>
                  </a:lnTo>
                  <a:lnTo>
                    <a:pt x="1850" y="1234"/>
                  </a:lnTo>
                  <a:lnTo>
                    <a:pt x="1842" y="1212"/>
                  </a:lnTo>
                  <a:lnTo>
                    <a:pt x="1836" y="1190"/>
                  </a:lnTo>
                  <a:lnTo>
                    <a:pt x="1826" y="1168"/>
                  </a:lnTo>
                  <a:lnTo>
                    <a:pt x="1816" y="1148"/>
                  </a:lnTo>
                  <a:lnTo>
                    <a:pt x="1804" y="1130"/>
                  </a:lnTo>
                  <a:lnTo>
                    <a:pt x="1790" y="1114"/>
                  </a:lnTo>
                  <a:lnTo>
                    <a:pt x="1776" y="1098"/>
                  </a:lnTo>
                  <a:lnTo>
                    <a:pt x="1762" y="1084"/>
                  </a:lnTo>
                  <a:lnTo>
                    <a:pt x="1746" y="1072"/>
                  </a:lnTo>
                  <a:lnTo>
                    <a:pt x="1728" y="1062"/>
                  </a:lnTo>
                  <a:lnTo>
                    <a:pt x="1712" y="1054"/>
                  </a:lnTo>
                  <a:lnTo>
                    <a:pt x="1694" y="1048"/>
                  </a:lnTo>
                  <a:lnTo>
                    <a:pt x="1674" y="1046"/>
                  </a:lnTo>
                  <a:lnTo>
                    <a:pt x="1656" y="1044"/>
                  </a:lnTo>
                  <a:lnTo>
                    <a:pt x="1656" y="1044"/>
                  </a:lnTo>
                  <a:lnTo>
                    <a:pt x="1634" y="1046"/>
                  </a:lnTo>
                  <a:lnTo>
                    <a:pt x="1612" y="1050"/>
                  </a:lnTo>
                  <a:lnTo>
                    <a:pt x="1594" y="1058"/>
                  </a:lnTo>
                  <a:lnTo>
                    <a:pt x="1576" y="1068"/>
                  </a:lnTo>
                  <a:lnTo>
                    <a:pt x="1558" y="1080"/>
                  </a:lnTo>
                  <a:lnTo>
                    <a:pt x="1542" y="1092"/>
                  </a:lnTo>
                  <a:lnTo>
                    <a:pt x="1510" y="1122"/>
                  </a:lnTo>
                  <a:lnTo>
                    <a:pt x="1478" y="1150"/>
                  </a:lnTo>
                  <a:lnTo>
                    <a:pt x="1462" y="1162"/>
                  </a:lnTo>
                  <a:lnTo>
                    <a:pt x="1444" y="1174"/>
                  </a:lnTo>
                  <a:lnTo>
                    <a:pt x="1426" y="1184"/>
                  </a:lnTo>
                  <a:lnTo>
                    <a:pt x="1406" y="1192"/>
                  </a:lnTo>
                  <a:lnTo>
                    <a:pt x="1386" y="1196"/>
                  </a:lnTo>
                  <a:lnTo>
                    <a:pt x="1364" y="1198"/>
                  </a:lnTo>
                  <a:lnTo>
                    <a:pt x="1364" y="1198"/>
                  </a:lnTo>
                  <a:lnTo>
                    <a:pt x="1344" y="1198"/>
                  </a:lnTo>
                  <a:lnTo>
                    <a:pt x="1324" y="1194"/>
                  </a:lnTo>
                  <a:lnTo>
                    <a:pt x="1304" y="1186"/>
                  </a:lnTo>
                  <a:lnTo>
                    <a:pt x="1286" y="1178"/>
                  </a:lnTo>
                  <a:lnTo>
                    <a:pt x="1268" y="1166"/>
                  </a:lnTo>
                  <a:lnTo>
                    <a:pt x="1252" y="1152"/>
                  </a:lnTo>
                  <a:lnTo>
                    <a:pt x="1236" y="1136"/>
                  </a:lnTo>
                  <a:lnTo>
                    <a:pt x="1222" y="1120"/>
                  </a:lnTo>
                  <a:lnTo>
                    <a:pt x="1208" y="1100"/>
                  </a:lnTo>
                  <a:lnTo>
                    <a:pt x="1196" y="1080"/>
                  </a:lnTo>
                  <a:lnTo>
                    <a:pt x="1186" y="1056"/>
                  </a:lnTo>
                  <a:lnTo>
                    <a:pt x="1178" y="1034"/>
                  </a:lnTo>
                  <a:lnTo>
                    <a:pt x="1170" y="1008"/>
                  </a:lnTo>
                  <a:lnTo>
                    <a:pt x="1166" y="982"/>
                  </a:lnTo>
                  <a:lnTo>
                    <a:pt x="1162" y="956"/>
                  </a:lnTo>
                  <a:lnTo>
                    <a:pt x="1162" y="928"/>
                  </a:lnTo>
                  <a:lnTo>
                    <a:pt x="1162" y="928"/>
                  </a:lnTo>
                  <a:lnTo>
                    <a:pt x="1162" y="900"/>
                  </a:lnTo>
                  <a:lnTo>
                    <a:pt x="1166" y="874"/>
                  </a:lnTo>
                  <a:lnTo>
                    <a:pt x="1170" y="848"/>
                  </a:lnTo>
                  <a:lnTo>
                    <a:pt x="1178" y="822"/>
                  </a:lnTo>
                  <a:lnTo>
                    <a:pt x="1186" y="798"/>
                  </a:lnTo>
                  <a:lnTo>
                    <a:pt x="1196" y="776"/>
                  </a:lnTo>
                  <a:lnTo>
                    <a:pt x="1208" y="756"/>
                  </a:lnTo>
                  <a:lnTo>
                    <a:pt x="1222" y="736"/>
                  </a:lnTo>
                  <a:lnTo>
                    <a:pt x="1236" y="718"/>
                  </a:lnTo>
                  <a:lnTo>
                    <a:pt x="1252" y="704"/>
                  </a:lnTo>
                  <a:lnTo>
                    <a:pt x="1268" y="690"/>
                  </a:lnTo>
                  <a:lnTo>
                    <a:pt x="1286" y="678"/>
                  </a:lnTo>
                  <a:lnTo>
                    <a:pt x="1304" y="670"/>
                  </a:lnTo>
                  <a:lnTo>
                    <a:pt x="1324" y="662"/>
                  </a:lnTo>
                  <a:lnTo>
                    <a:pt x="1344" y="658"/>
                  </a:lnTo>
                  <a:lnTo>
                    <a:pt x="1364" y="658"/>
                  </a:lnTo>
                  <a:lnTo>
                    <a:pt x="1364" y="658"/>
                  </a:lnTo>
                  <a:close/>
                </a:path>
              </a:pathLst>
            </a:custGeom>
            <a:solidFill>
              <a:schemeClr val="tx1">
                <a:lumMod val="20000"/>
                <a:lumOff val="80000"/>
              </a:schemeClr>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1" name="Freeform 5"/>
            <p:cNvSpPr>
              <a:spLocks/>
            </p:cNvSpPr>
            <p:nvPr/>
          </p:nvSpPr>
          <p:spPr bwMode="auto">
            <a:xfrm>
              <a:off x="3079470" y="1824373"/>
              <a:ext cx="6334749" cy="4623079"/>
            </a:xfrm>
            <a:custGeom>
              <a:avLst/>
              <a:gdLst/>
              <a:ahLst/>
              <a:cxnLst>
                <a:cxn ang="0">
                  <a:pos x="3002" y="664"/>
                </a:cxn>
                <a:cxn ang="0">
                  <a:pos x="2930" y="706"/>
                </a:cxn>
                <a:cxn ang="0">
                  <a:pos x="2832" y="788"/>
                </a:cxn>
                <a:cxn ang="0">
                  <a:pos x="2754" y="812"/>
                </a:cxn>
                <a:cxn ang="0">
                  <a:pos x="2696" y="802"/>
                </a:cxn>
                <a:cxn ang="0">
                  <a:pos x="2628" y="756"/>
                </a:cxn>
                <a:cxn ang="0">
                  <a:pos x="2580" y="680"/>
                </a:cxn>
                <a:cxn ang="0">
                  <a:pos x="2554" y="586"/>
                </a:cxn>
                <a:cxn ang="0">
                  <a:pos x="694" y="560"/>
                </a:cxn>
                <a:cxn ang="0">
                  <a:pos x="682" y="636"/>
                </a:cxn>
                <a:cxn ang="0">
                  <a:pos x="644" y="720"/>
                </a:cxn>
                <a:cxn ang="0">
                  <a:pos x="586" y="782"/>
                </a:cxn>
                <a:cxn ang="0">
                  <a:pos x="512" y="810"/>
                </a:cxn>
                <a:cxn ang="0">
                  <a:pos x="450" y="806"/>
                </a:cxn>
                <a:cxn ang="0">
                  <a:pos x="380" y="764"/>
                </a:cxn>
                <a:cxn ang="0">
                  <a:pos x="282" y="682"/>
                </a:cxn>
                <a:cxn ang="0">
                  <a:pos x="202" y="658"/>
                </a:cxn>
                <a:cxn ang="0">
                  <a:pos x="142" y="670"/>
                </a:cxn>
                <a:cxn ang="0">
                  <a:pos x="74" y="720"/>
                </a:cxn>
                <a:cxn ang="0">
                  <a:pos x="24" y="800"/>
                </a:cxn>
                <a:cxn ang="0">
                  <a:pos x="0" y="900"/>
                </a:cxn>
                <a:cxn ang="0">
                  <a:pos x="4" y="982"/>
                </a:cxn>
                <a:cxn ang="0">
                  <a:pos x="34" y="1080"/>
                </a:cxn>
                <a:cxn ang="0">
                  <a:pos x="88" y="1152"/>
                </a:cxn>
                <a:cxn ang="0">
                  <a:pos x="162" y="1194"/>
                </a:cxn>
                <a:cxn ang="0">
                  <a:pos x="224" y="1198"/>
                </a:cxn>
                <a:cxn ang="0">
                  <a:pos x="298" y="1162"/>
                </a:cxn>
                <a:cxn ang="0">
                  <a:pos x="396" y="1080"/>
                </a:cxn>
                <a:cxn ang="0">
                  <a:pos x="470" y="1046"/>
                </a:cxn>
                <a:cxn ang="0">
                  <a:pos x="532" y="1050"/>
                </a:cxn>
                <a:cxn ang="0">
                  <a:pos x="602" y="1086"/>
                </a:cxn>
                <a:cxn ang="0">
                  <a:pos x="656" y="1154"/>
                </a:cxn>
                <a:cxn ang="0">
                  <a:pos x="688" y="1246"/>
                </a:cxn>
                <a:cxn ang="0">
                  <a:pos x="2552" y="1856"/>
                </a:cxn>
                <a:cxn ang="0">
                  <a:pos x="2558" y="1246"/>
                </a:cxn>
                <a:cxn ang="0">
                  <a:pos x="2590" y="1156"/>
                </a:cxn>
                <a:cxn ang="0">
                  <a:pos x="2644" y="1088"/>
                </a:cxn>
                <a:cxn ang="0">
                  <a:pos x="2714" y="1050"/>
                </a:cxn>
                <a:cxn ang="0">
                  <a:pos x="2776" y="1046"/>
                </a:cxn>
                <a:cxn ang="0">
                  <a:pos x="2850" y="1080"/>
                </a:cxn>
                <a:cxn ang="0">
                  <a:pos x="2948" y="1162"/>
                </a:cxn>
                <a:cxn ang="0">
                  <a:pos x="3022" y="1198"/>
                </a:cxn>
                <a:cxn ang="0">
                  <a:pos x="3084" y="1194"/>
                </a:cxn>
                <a:cxn ang="0">
                  <a:pos x="3158" y="1152"/>
                </a:cxn>
                <a:cxn ang="0">
                  <a:pos x="3212" y="1080"/>
                </a:cxn>
                <a:cxn ang="0">
                  <a:pos x="3242" y="982"/>
                </a:cxn>
                <a:cxn ang="0">
                  <a:pos x="3246" y="900"/>
                </a:cxn>
                <a:cxn ang="0">
                  <a:pos x="3222" y="800"/>
                </a:cxn>
                <a:cxn ang="0">
                  <a:pos x="3172" y="720"/>
                </a:cxn>
                <a:cxn ang="0">
                  <a:pos x="3104" y="670"/>
                </a:cxn>
                <a:cxn ang="0">
                  <a:pos x="3044" y="658"/>
                </a:cxn>
              </a:cxnLst>
              <a:rect l="0" t="0" r="r" b="b"/>
              <a:pathLst>
                <a:path w="3246" h="1856">
                  <a:moveTo>
                    <a:pt x="3044" y="658"/>
                  </a:moveTo>
                  <a:lnTo>
                    <a:pt x="3044" y="658"/>
                  </a:lnTo>
                  <a:lnTo>
                    <a:pt x="3022" y="660"/>
                  </a:lnTo>
                  <a:lnTo>
                    <a:pt x="3002" y="664"/>
                  </a:lnTo>
                  <a:lnTo>
                    <a:pt x="2982" y="672"/>
                  </a:lnTo>
                  <a:lnTo>
                    <a:pt x="2964" y="682"/>
                  </a:lnTo>
                  <a:lnTo>
                    <a:pt x="2948" y="694"/>
                  </a:lnTo>
                  <a:lnTo>
                    <a:pt x="2930" y="706"/>
                  </a:lnTo>
                  <a:lnTo>
                    <a:pt x="2898" y="736"/>
                  </a:lnTo>
                  <a:lnTo>
                    <a:pt x="2866" y="764"/>
                  </a:lnTo>
                  <a:lnTo>
                    <a:pt x="2850" y="776"/>
                  </a:lnTo>
                  <a:lnTo>
                    <a:pt x="2832" y="788"/>
                  </a:lnTo>
                  <a:lnTo>
                    <a:pt x="2814" y="798"/>
                  </a:lnTo>
                  <a:lnTo>
                    <a:pt x="2796" y="806"/>
                  </a:lnTo>
                  <a:lnTo>
                    <a:pt x="2776" y="810"/>
                  </a:lnTo>
                  <a:lnTo>
                    <a:pt x="2754" y="812"/>
                  </a:lnTo>
                  <a:lnTo>
                    <a:pt x="2754" y="812"/>
                  </a:lnTo>
                  <a:lnTo>
                    <a:pt x="2734" y="812"/>
                  </a:lnTo>
                  <a:lnTo>
                    <a:pt x="2714" y="808"/>
                  </a:lnTo>
                  <a:lnTo>
                    <a:pt x="2696" y="802"/>
                  </a:lnTo>
                  <a:lnTo>
                    <a:pt x="2678" y="792"/>
                  </a:lnTo>
                  <a:lnTo>
                    <a:pt x="2660" y="782"/>
                  </a:lnTo>
                  <a:lnTo>
                    <a:pt x="2644" y="770"/>
                  </a:lnTo>
                  <a:lnTo>
                    <a:pt x="2628" y="756"/>
                  </a:lnTo>
                  <a:lnTo>
                    <a:pt x="2614" y="738"/>
                  </a:lnTo>
                  <a:lnTo>
                    <a:pt x="2602" y="722"/>
                  </a:lnTo>
                  <a:lnTo>
                    <a:pt x="2590" y="702"/>
                  </a:lnTo>
                  <a:lnTo>
                    <a:pt x="2580" y="680"/>
                  </a:lnTo>
                  <a:lnTo>
                    <a:pt x="2570" y="658"/>
                  </a:lnTo>
                  <a:lnTo>
                    <a:pt x="2564" y="636"/>
                  </a:lnTo>
                  <a:lnTo>
                    <a:pt x="2558" y="612"/>
                  </a:lnTo>
                  <a:lnTo>
                    <a:pt x="2554" y="586"/>
                  </a:lnTo>
                  <a:lnTo>
                    <a:pt x="2552" y="560"/>
                  </a:lnTo>
                  <a:lnTo>
                    <a:pt x="2552" y="0"/>
                  </a:lnTo>
                  <a:lnTo>
                    <a:pt x="694" y="0"/>
                  </a:lnTo>
                  <a:lnTo>
                    <a:pt x="694" y="560"/>
                  </a:lnTo>
                  <a:lnTo>
                    <a:pt x="694" y="560"/>
                  </a:lnTo>
                  <a:lnTo>
                    <a:pt x="692" y="586"/>
                  </a:lnTo>
                  <a:lnTo>
                    <a:pt x="688" y="610"/>
                  </a:lnTo>
                  <a:lnTo>
                    <a:pt x="682" y="636"/>
                  </a:lnTo>
                  <a:lnTo>
                    <a:pt x="676" y="658"/>
                  </a:lnTo>
                  <a:lnTo>
                    <a:pt x="666" y="680"/>
                  </a:lnTo>
                  <a:lnTo>
                    <a:pt x="656" y="702"/>
                  </a:lnTo>
                  <a:lnTo>
                    <a:pt x="644" y="720"/>
                  </a:lnTo>
                  <a:lnTo>
                    <a:pt x="632" y="738"/>
                  </a:lnTo>
                  <a:lnTo>
                    <a:pt x="618" y="756"/>
                  </a:lnTo>
                  <a:lnTo>
                    <a:pt x="602" y="770"/>
                  </a:lnTo>
                  <a:lnTo>
                    <a:pt x="586" y="782"/>
                  </a:lnTo>
                  <a:lnTo>
                    <a:pt x="568" y="792"/>
                  </a:lnTo>
                  <a:lnTo>
                    <a:pt x="550" y="802"/>
                  </a:lnTo>
                  <a:lnTo>
                    <a:pt x="532" y="808"/>
                  </a:lnTo>
                  <a:lnTo>
                    <a:pt x="512" y="810"/>
                  </a:lnTo>
                  <a:lnTo>
                    <a:pt x="492" y="812"/>
                  </a:lnTo>
                  <a:lnTo>
                    <a:pt x="492" y="812"/>
                  </a:lnTo>
                  <a:lnTo>
                    <a:pt x="470" y="810"/>
                  </a:lnTo>
                  <a:lnTo>
                    <a:pt x="450" y="806"/>
                  </a:lnTo>
                  <a:lnTo>
                    <a:pt x="432" y="798"/>
                  </a:lnTo>
                  <a:lnTo>
                    <a:pt x="414" y="788"/>
                  </a:lnTo>
                  <a:lnTo>
                    <a:pt x="396" y="776"/>
                  </a:lnTo>
                  <a:lnTo>
                    <a:pt x="380" y="764"/>
                  </a:lnTo>
                  <a:lnTo>
                    <a:pt x="348" y="734"/>
                  </a:lnTo>
                  <a:lnTo>
                    <a:pt x="316" y="706"/>
                  </a:lnTo>
                  <a:lnTo>
                    <a:pt x="298" y="694"/>
                  </a:lnTo>
                  <a:lnTo>
                    <a:pt x="282" y="682"/>
                  </a:lnTo>
                  <a:lnTo>
                    <a:pt x="264" y="672"/>
                  </a:lnTo>
                  <a:lnTo>
                    <a:pt x="244" y="664"/>
                  </a:lnTo>
                  <a:lnTo>
                    <a:pt x="224" y="660"/>
                  </a:lnTo>
                  <a:lnTo>
                    <a:pt x="202" y="658"/>
                  </a:lnTo>
                  <a:lnTo>
                    <a:pt x="202" y="658"/>
                  </a:lnTo>
                  <a:lnTo>
                    <a:pt x="182" y="660"/>
                  </a:lnTo>
                  <a:lnTo>
                    <a:pt x="162" y="664"/>
                  </a:lnTo>
                  <a:lnTo>
                    <a:pt x="142" y="670"/>
                  </a:lnTo>
                  <a:lnTo>
                    <a:pt x="124" y="678"/>
                  </a:lnTo>
                  <a:lnTo>
                    <a:pt x="106" y="690"/>
                  </a:lnTo>
                  <a:lnTo>
                    <a:pt x="88" y="704"/>
                  </a:lnTo>
                  <a:lnTo>
                    <a:pt x="74" y="720"/>
                  </a:lnTo>
                  <a:lnTo>
                    <a:pt x="58" y="736"/>
                  </a:lnTo>
                  <a:lnTo>
                    <a:pt x="46" y="756"/>
                  </a:lnTo>
                  <a:lnTo>
                    <a:pt x="34" y="776"/>
                  </a:lnTo>
                  <a:lnTo>
                    <a:pt x="24" y="800"/>
                  </a:lnTo>
                  <a:lnTo>
                    <a:pt x="16" y="822"/>
                  </a:lnTo>
                  <a:lnTo>
                    <a:pt x="8" y="848"/>
                  </a:lnTo>
                  <a:lnTo>
                    <a:pt x="4" y="874"/>
                  </a:lnTo>
                  <a:lnTo>
                    <a:pt x="0" y="900"/>
                  </a:lnTo>
                  <a:lnTo>
                    <a:pt x="0" y="928"/>
                  </a:lnTo>
                  <a:lnTo>
                    <a:pt x="0" y="928"/>
                  </a:lnTo>
                  <a:lnTo>
                    <a:pt x="0" y="956"/>
                  </a:lnTo>
                  <a:lnTo>
                    <a:pt x="4" y="982"/>
                  </a:lnTo>
                  <a:lnTo>
                    <a:pt x="8" y="1008"/>
                  </a:lnTo>
                  <a:lnTo>
                    <a:pt x="16" y="1034"/>
                  </a:lnTo>
                  <a:lnTo>
                    <a:pt x="24" y="1058"/>
                  </a:lnTo>
                  <a:lnTo>
                    <a:pt x="34" y="1080"/>
                  </a:lnTo>
                  <a:lnTo>
                    <a:pt x="46" y="1100"/>
                  </a:lnTo>
                  <a:lnTo>
                    <a:pt x="58" y="1120"/>
                  </a:lnTo>
                  <a:lnTo>
                    <a:pt x="74" y="1138"/>
                  </a:lnTo>
                  <a:lnTo>
                    <a:pt x="88" y="1152"/>
                  </a:lnTo>
                  <a:lnTo>
                    <a:pt x="106" y="1166"/>
                  </a:lnTo>
                  <a:lnTo>
                    <a:pt x="124" y="1178"/>
                  </a:lnTo>
                  <a:lnTo>
                    <a:pt x="142" y="1186"/>
                  </a:lnTo>
                  <a:lnTo>
                    <a:pt x="162" y="1194"/>
                  </a:lnTo>
                  <a:lnTo>
                    <a:pt x="182" y="1198"/>
                  </a:lnTo>
                  <a:lnTo>
                    <a:pt x="202" y="1198"/>
                  </a:lnTo>
                  <a:lnTo>
                    <a:pt x="202" y="1198"/>
                  </a:lnTo>
                  <a:lnTo>
                    <a:pt x="224" y="1198"/>
                  </a:lnTo>
                  <a:lnTo>
                    <a:pt x="244" y="1192"/>
                  </a:lnTo>
                  <a:lnTo>
                    <a:pt x="264" y="1184"/>
                  </a:lnTo>
                  <a:lnTo>
                    <a:pt x="282" y="1174"/>
                  </a:lnTo>
                  <a:lnTo>
                    <a:pt x="298" y="1162"/>
                  </a:lnTo>
                  <a:lnTo>
                    <a:pt x="316" y="1150"/>
                  </a:lnTo>
                  <a:lnTo>
                    <a:pt x="348" y="1122"/>
                  </a:lnTo>
                  <a:lnTo>
                    <a:pt x="380" y="1094"/>
                  </a:lnTo>
                  <a:lnTo>
                    <a:pt x="396" y="1080"/>
                  </a:lnTo>
                  <a:lnTo>
                    <a:pt x="414" y="1068"/>
                  </a:lnTo>
                  <a:lnTo>
                    <a:pt x="432" y="1058"/>
                  </a:lnTo>
                  <a:lnTo>
                    <a:pt x="450" y="1050"/>
                  </a:lnTo>
                  <a:lnTo>
                    <a:pt x="470" y="1046"/>
                  </a:lnTo>
                  <a:lnTo>
                    <a:pt x="492" y="1044"/>
                  </a:lnTo>
                  <a:lnTo>
                    <a:pt x="492" y="1044"/>
                  </a:lnTo>
                  <a:lnTo>
                    <a:pt x="512" y="1046"/>
                  </a:lnTo>
                  <a:lnTo>
                    <a:pt x="532" y="1050"/>
                  </a:lnTo>
                  <a:lnTo>
                    <a:pt x="550" y="1056"/>
                  </a:lnTo>
                  <a:lnTo>
                    <a:pt x="568" y="1064"/>
                  </a:lnTo>
                  <a:lnTo>
                    <a:pt x="586" y="1074"/>
                  </a:lnTo>
                  <a:lnTo>
                    <a:pt x="602" y="1086"/>
                  </a:lnTo>
                  <a:lnTo>
                    <a:pt x="618" y="1102"/>
                  </a:lnTo>
                  <a:lnTo>
                    <a:pt x="632" y="1118"/>
                  </a:lnTo>
                  <a:lnTo>
                    <a:pt x="644" y="1136"/>
                  </a:lnTo>
                  <a:lnTo>
                    <a:pt x="656" y="1154"/>
                  </a:lnTo>
                  <a:lnTo>
                    <a:pt x="666" y="1176"/>
                  </a:lnTo>
                  <a:lnTo>
                    <a:pt x="676" y="1198"/>
                  </a:lnTo>
                  <a:lnTo>
                    <a:pt x="682" y="1220"/>
                  </a:lnTo>
                  <a:lnTo>
                    <a:pt x="688" y="1246"/>
                  </a:lnTo>
                  <a:lnTo>
                    <a:pt x="692" y="1270"/>
                  </a:lnTo>
                  <a:lnTo>
                    <a:pt x="694" y="1296"/>
                  </a:lnTo>
                  <a:lnTo>
                    <a:pt x="694" y="1856"/>
                  </a:lnTo>
                  <a:lnTo>
                    <a:pt x="2552" y="1856"/>
                  </a:lnTo>
                  <a:lnTo>
                    <a:pt x="2552" y="1298"/>
                  </a:lnTo>
                  <a:lnTo>
                    <a:pt x="2552" y="1298"/>
                  </a:lnTo>
                  <a:lnTo>
                    <a:pt x="2554" y="1272"/>
                  </a:lnTo>
                  <a:lnTo>
                    <a:pt x="2558" y="1246"/>
                  </a:lnTo>
                  <a:lnTo>
                    <a:pt x="2564" y="1222"/>
                  </a:lnTo>
                  <a:lnTo>
                    <a:pt x="2570" y="1198"/>
                  </a:lnTo>
                  <a:lnTo>
                    <a:pt x="2580" y="1176"/>
                  </a:lnTo>
                  <a:lnTo>
                    <a:pt x="2590" y="1156"/>
                  </a:lnTo>
                  <a:lnTo>
                    <a:pt x="2602" y="1136"/>
                  </a:lnTo>
                  <a:lnTo>
                    <a:pt x="2614" y="1118"/>
                  </a:lnTo>
                  <a:lnTo>
                    <a:pt x="2628" y="1102"/>
                  </a:lnTo>
                  <a:lnTo>
                    <a:pt x="2644" y="1088"/>
                  </a:lnTo>
                  <a:lnTo>
                    <a:pt x="2660" y="1074"/>
                  </a:lnTo>
                  <a:lnTo>
                    <a:pt x="2678" y="1064"/>
                  </a:lnTo>
                  <a:lnTo>
                    <a:pt x="2696" y="1056"/>
                  </a:lnTo>
                  <a:lnTo>
                    <a:pt x="2714" y="1050"/>
                  </a:lnTo>
                  <a:lnTo>
                    <a:pt x="2734" y="1046"/>
                  </a:lnTo>
                  <a:lnTo>
                    <a:pt x="2754" y="1044"/>
                  </a:lnTo>
                  <a:lnTo>
                    <a:pt x="2754" y="1044"/>
                  </a:lnTo>
                  <a:lnTo>
                    <a:pt x="2776" y="1046"/>
                  </a:lnTo>
                  <a:lnTo>
                    <a:pt x="2796" y="1050"/>
                  </a:lnTo>
                  <a:lnTo>
                    <a:pt x="2814" y="1058"/>
                  </a:lnTo>
                  <a:lnTo>
                    <a:pt x="2832" y="1068"/>
                  </a:lnTo>
                  <a:lnTo>
                    <a:pt x="2850" y="1080"/>
                  </a:lnTo>
                  <a:lnTo>
                    <a:pt x="2866" y="1094"/>
                  </a:lnTo>
                  <a:lnTo>
                    <a:pt x="2898" y="1122"/>
                  </a:lnTo>
                  <a:lnTo>
                    <a:pt x="2930" y="1150"/>
                  </a:lnTo>
                  <a:lnTo>
                    <a:pt x="2948" y="1162"/>
                  </a:lnTo>
                  <a:lnTo>
                    <a:pt x="2964" y="1174"/>
                  </a:lnTo>
                  <a:lnTo>
                    <a:pt x="2982" y="1184"/>
                  </a:lnTo>
                  <a:lnTo>
                    <a:pt x="3002" y="1192"/>
                  </a:lnTo>
                  <a:lnTo>
                    <a:pt x="3022" y="1198"/>
                  </a:lnTo>
                  <a:lnTo>
                    <a:pt x="3044" y="1198"/>
                  </a:lnTo>
                  <a:lnTo>
                    <a:pt x="3044" y="1198"/>
                  </a:lnTo>
                  <a:lnTo>
                    <a:pt x="3064" y="1198"/>
                  </a:lnTo>
                  <a:lnTo>
                    <a:pt x="3084" y="1194"/>
                  </a:lnTo>
                  <a:lnTo>
                    <a:pt x="3104" y="1186"/>
                  </a:lnTo>
                  <a:lnTo>
                    <a:pt x="3122" y="1178"/>
                  </a:lnTo>
                  <a:lnTo>
                    <a:pt x="3140" y="1166"/>
                  </a:lnTo>
                  <a:lnTo>
                    <a:pt x="3158" y="1152"/>
                  </a:lnTo>
                  <a:lnTo>
                    <a:pt x="3172" y="1138"/>
                  </a:lnTo>
                  <a:lnTo>
                    <a:pt x="3188" y="1120"/>
                  </a:lnTo>
                  <a:lnTo>
                    <a:pt x="3200" y="1100"/>
                  </a:lnTo>
                  <a:lnTo>
                    <a:pt x="3212" y="1080"/>
                  </a:lnTo>
                  <a:lnTo>
                    <a:pt x="3222" y="1058"/>
                  </a:lnTo>
                  <a:lnTo>
                    <a:pt x="3230" y="1034"/>
                  </a:lnTo>
                  <a:lnTo>
                    <a:pt x="3238" y="1008"/>
                  </a:lnTo>
                  <a:lnTo>
                    <a:pt x="3242" y="982"/>
                  </a:lnTo>
                  <a:lnTo>
                    <a:pt x="3246" y="956"/>
                  </a:lnTo>
                  <a:lnTo>
                    <a:pt x="3246" y="928"/>
                  </a:lnTo>
                  <a:lnTo>
                    <a:pt x="3246" y="928"/>
                  </a:lnTo>
                  <a:lnTo>
                    <a:pt x="3246" y="900"/>
                  </a:lnTo>
                  <a:lnTo>
                    <a:pt x="3242" y="874"/>
                  </a:lnTo>
                  <a:lnTo>
                    <a:pt x="3238" y="848"/>
                  </a:lnTo>
                  <a:lnTo>
                    <a:pt x="3230" y="822"/>
                  </a:lnTo>
                  <a:lnTo>
                    <a:pt x="3222" y="800"/>
                  </a:lnTo>
                  <a:lnTo>
                    <a:pt x="3212" y="778"/>
                  </a:lnTo>
                  <a:lnTo>
                    <a:pt x="3200" y="756"/>
                  </a:lnTo>
                  <a:lnTo>
                    <a:pt x="3188" y="736"/>
                  </a:lnTo>
                  <a:lnTo>
                    <a:pt x="3172" y="720"/>
                  </a:lnTo>
                  <a:lnTo>
                    <a:pt x="3158" y="704"/>
                  </a:lnTo>
                  <a:lnTo>
                    <a:pt x="3140" y="690"/>
                  </a:lnTo>
                  <a:lnTo>
                    <a:pt x="3122" y="678"/>
                  </a:lnTo>
                  <a:lnTo>
                    <a:pt x="3104" y="670"/>
                  </a:lnTo>
                  <a:lnTo>
                    <a:pt x="3084" y="664"/>
                  </a:lnTo>
                  <a:lnTo>
                    <a:pt x="3064" y="660"/>
                  </a:lnTo>
                  <a:lnTo>
                    <a:pt x="3044" y="658"/>
                  </a:lnTo>
                  <a:lnTo>
                    <a:pt x="3044" y="658"/>
                  </a:lnTo>
                  <a:close/>
                </a:path>
              </a:pathLst>
            </a:custGeom>
            <a:solidFill>
              <a:srgbClr val="2E75B6"/>
            </a:solidFill>
            <a:ln w="12700">
              <a:solidFill>
                <a:srgbClr val="2E75B6"/>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extrusionClr>
                <a:schemeClr val="tx2">
                  <a:lumMod val="60000"/>
                  <a:lumOff val="40000"/>
                </a:schemeClr>
              </a:extrusionClr>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2" name="Freeform 6"/>
            <p:cNvSpPr>
              <a:spLocks/>
            </p:cNvSpPr>
            <p:nvPr/>
          </p:nvSpPr>
          <p:spPr bwMode="auto">
            <a:xfrm>
              <a:off x="8059839" y="1824373"/>
              <a:ext cx="3622087" cy="4623079"/>
            </a:xfrm>
            <a:custGeom>
              <a:avLst/>
              <a:gdLst/>
              <a:ahLst/>
              <a:cxnLst>
                <a:cxn ang="0">
                  <a:pos x="1856" y="0"/>
                </a:cxn>
                <a:cxn ang="0">
                  <a:pos x="0" y="572"/>
                </a:cxn>
                <a:cxn ang="0">
                  <a:pos x="2" y="596"/>
                </a:cxn>
                <a:cxn ang="0">
                  <a:pos x="14" y="644"/>
                </a:cxn>
                <a:cxn ang="0">
                  <a:pos x="30" y="688"/>
                </a:cxn>
                <a:cxn ang="0">
                  <a:pos x="52" y="726"/>
                </a:cxn>
                <a:cxn ang="0">
                  <a:pos x="80" y="758"/>
                </a:cxn>
                <a:cxn ang="0">
                  <a:pos x="110" y="784"/>
                </a:cxn>
                <a:cxn ang="0">
                  <a:pos x="144" y="802"/>
                </a:cxn>
                <a:cxn ang="0">
                  <a:pos x="182" y="810"/>
                </a:cxn>
                <a:cxn ang="0">
                  <a:pos x="202" y="812"/>
                </a:cxn>
                <a:cxn ang="0">
                  <a:pos x="244" y="806"/>
                </a:cxn>
                <a:cxn ang="0">
                  <a:pos x="280" y="788"/>
                </a:cxn>
                <a:cxn ang="0">
                  <a:pos x="314" y="762"/>
                </a:cxn>
                <a:cxn ang="0">
                  <a:pos x="378" y="706"/>
                </a:cxn>
                <a:cxn ang="0">
                  <a:pos x="412" y="682"/>
                </a:cxn>
                <a:cxn ang="0">
                  <a:pos x="450" y="664"/>
                </a:cxn>
                <a:cxn ang="0">
                  <a:pos x="492" y="658"/>
                </a:cxn>
                <a:cxn ang="0">
                  <a:pos x="512" y="658"/>
                </a:cxn>
                <a:cxn ang="0">
                  <a:pos x="552" y="670"/>
                </a:cxn>
                <a:cxn ang="0">
                  <a:pos x="588" y="690"/>
                </a:cxn>
                <a:cxn ang="0">
                  <a:pos x="620" y="718"/>
                </a:cxn>
                <a:cxn ang="0">
                  <a:pos x="648" y="756"/>
                </a:cxn>
                <a:cxn ang="0">
                  <a:pos x="670" y="798"/>
                </a:cxn>
                <a:cxn ang="0">
                  <a:pos x="686" y="848"/>
                </a:cxn>
                <a:cxn ang="0">
                  <a:pos x="694" y="900"/>
                </a:cxn>
                <a:cxn ang="0">
                  <a:pos x="694" y="928"/>
                </a:cxn>
                <a:cxn ang="0">
                  <a:pos x="690" y="982"/>
                </a:cxn>
                <a:cxn ang="0">
                  <a:pos x="678" y="1034"/>
                </a:cxn>
                <a:cxn ang="0">
                  <a:pos x="660" y="1080"/>
                </a:cxn>
                <a:cxn ang="0">
                  <a:pos x="634" y="1120"/>
                </a:cxn>
                <a:cxn ang="0">
                  <a:pos x="604" y="1152"/>
                </a:cxn>
                <a:cxn ang="0">
                  <a:pos x="570" y="1178"/>
                </a:cxn>
                <a:cxn ang="0">
                  <a:pos x="532" y="1194"/>
                </a:cxn>
                <a:cxn ang="0">
                  <a:pos x="492" y="1198"/>
                </a:cxn>
                <a:cxn ang="0">
                  <a:pos x="470" y="1196"/>
                </a:cxn>
                <a:cxn ang="0">
                  <a:pos x="430" y="1184"/>
                </a:cxn>
                <a:cxn ang="0">
                  <a:pos x="394" y="1162"/>
                </a:cxn>
                <a:cxn ang="0">
                  <a:pos x="346" y="1122"/>
                </a:cxn>
                <a:cxn ang="0">
                  <a:pos x="298" y="1080"/>
                </a:cxn>
                <a:cxn ang="0">
                  <a:pos x="262" y="1058"/>
                </a:cxn>
                <a:cxn ang="0">
                  <a:pos x="222" y="1046"/>
                </a:cxn>
                <a:cxn ang="0">
                  <a:pos x="200" y="1044"/>
                </a:cxn>
                <a:cxn ang="0">
                  <a:pos x="162" y="1048"/>
                </a:cxn>
                <a:cxn ang="0">
                  <a:pos x="128" y="1062"/>
                </a:cxn>
                <a:cxn ang="0">
                  <a:pos x="94" y="1084"/>
                </a:cxn>
                <a:cxn ang="0">
                  <a:pos x="66" y="1114"/>
                </a:cxn>
                <a:cxn ang="0">
                  <a:pos x="40" y="1148"/>
                </a:cxn>
                <a:cxn ang="0">
                  <a:pos x="20" y="1190"/>
                </a:cxn>
                <a:cxn ang="0">
                  <a:pos x="6" y="1234"/>
                </a:cxn>
                <a:cxn ang="0">
                  <a:pos x="0" y="1284"/>
                </a:cxn>
                <a:cxn ang="0">
                  <a:pos x="1856" y="1856"/>
                </a:cxn>
                <a:cxn ang="0">
                  <a:pos x="1856" y="0"/>
                </a:cxn>
              </a:cxnLst>
              <a:rect l="0" t="0" r="r" b="b"/>
              <a:pathLst>
                <a:path w="1856" h="1856">
                  <a:moveTo>
                    <a:pt x="1856" y="0"/>
                  </a:moveTo>
                  <a:lnTo>
                    <a:pt x="1856" y="0"/>
                  </a:lnTo>
                  <a:lnTo>
                    <a:pt x="0" y="0"/>
                  </a:lnTo>
                  <a:lnTo>
                    <a:pt x="0" y="572"/>
                  </a:lnTo>
                  <a:lnTo>
                    <a:pt x="0" y="572"/>
                  </a:lnTo>
                  <a:lnTo>
                    <a:pt x="2" y="596"/>
                  </a:lnTo>
                  <a:lnTo>
                    <a:pt x="6" y="620"/>
                  </a:lnTo>
                  <a:lnTo>
                    <a:pt x="14" y="644"/>
                  </a:lnTo>
                  <a:lnTo>
                    <a:pt x="20" y="666"/>
                  </a:lnTo>
                  <a:lnTo>
                    <a:pt x="30" y="688"/>
                  </a:lnTo>
                  <a:lnTo>
                    <a:pt x="40" y="708"/>
                  </a:lnTo>
                  <a:lnTo>
                    <a:pt x="52" y="726"/>
                  </a:lnTo>
                  <a:lnTo>
                    <a:pt x="66" y="742"/>
                  </a:lnTo>
                  <a:lnTo>
                    <a:pt x="80" y="758"/>
                  </a:lnTo>
                  <a:lnTo>
                    <a:pt x="94" y="772"/>
                  </a:lnTo>
                  <a:lnTo>
                    <a:pt x="110" y="784"/>
                  </a:lnTo>
                  <a:lnTo>
                    <a:pt x="128" y="794"/>
                  </a:lnTo>
                  <a:lnTo>
                    <a:pt x="144" y="802"/>
                  </a:lnTo>
                  <a:lnTo>
                    <a:pt x="162" y="808"/>
                  </a:lnTo>
                  <a:lnTo>
                    <a:pt x="182" y="810"/>
                  </a:lnTo>
                  <a:lnTo>
                    <a:pt x="202" y="812"/>
                  </a:lnTo>
                  <a:lnTo>
                    <a:pt x="202" y="812"/>
                  </a:lnTo>
                  <a:lnTo>
                    <a:pt x="222" y="810"/>
                  </a:lnTo>
                  <a:lnTo>
                    <a:pt x="244" y="806"/>
                  </a:lnTo>
                  <a:lnTo>
                    <a:pt x="262" y="798"/>
                  </a:lnTo>
                  <a:lnTo>
                    <a:pt x="280" y="788"/>
                  </a:lnTo>
                  <a:lnTo>
                    <a:pt x="298" y="776"/>
                  </a:lnTo>
                  <a:lnTo>
                    <a:pt x="314" y="762"/>
                  </a:lnTo>
                  <a:lnTo>
                    <a:pt x="346" y="734"/>
                  </a:lnTo>
                  <a:lnTo>
                    <a:pt x="378" y="706"/>
                  </a:lnTo>
                  <a:lnTo>
                    <a:pt x="394" y="694"/>
                  </a:lnTo>
                  <a:lnTo>
                    <a:pt x="412" y="682"/>
                  </a:lnTo>
                  <a:lnTo>
                    <a:pt x="430" y="672"/>
                  </a:lnTo>
                  <a:lnTo>
                    <a:pt x="450" y="664"/>
                  </a:lnTo>
                  <a:lnTo>
                    <a:pt x="470" y="658"/>
                  </a:lnTo>
                  <a:lnTo>
                    <a:pt x="492" y="658"/>
                  </a:lnTo>
                  <a:lnTo>
                    <a:pt x="492" y="658"/>
                  </a:lnTo>
                  <a:lnTo>
                    <a:pt x="512" y="658"/>
                  </a:lnTo>
                  <a:lnTo>
                    <a:pt x="532" y="662"/>
                  </a:lnTo>
                  <a:lnTo>
                    <a:pt x="552" y="670"/>
                  </a:lnTo>
                  <a:lnTo>
                    <a:pt x="570" y="678"/>
                  </a:lnTo>
                  <a:lnTo>
                    <a:pt x="588" y="690"/>
                  </a:lnTo>
                  <a:lnTo>
                    <a:pt x="604" y="704"/>
                  </a:lnTo>
                  <a:lnTo>
                    <a:pt x="620" y="718"/>
                  </a:lnTo>
                  <a:lnTo>
                    <a:pt x="634" y="736"/>
                  </a:lnTo>
                  <a:lnTo>
                    <a:pt x="648" y="756"/>
                  </a:lnTo>
                  <a:lnTo>
                    <a:pt x="660" y="776"/>
                  </a:lnTo>
                  <a:lnTo>
                    <a:pt x="670" y="798"/>
                  </a:lnTo>
                  <a:lnTo>
                    <a:pt x="678" y="822"/>
                  </a:lnTo>
                  <a:lnTo>
                    <a:pt x="686" y="848"/>
                  </a:lnTo>
                  <a:lnTo>
                    <a:pt x="690" y="874"/>
                  </a:lnTo>
                  <a:lnTo>
                    <a:pt x="694" y="900"/>
                  </a:lnTo>
                  <a:lnTo>
                    <a:pt x="694" y="928"/>
                  </a:lnTo>
                  <a:lnTo>
                    <a:pt x="694" y="928"/>
                  </a:lnTo>
                  <a:lnTo>
                    <a:pt x="694" y="956"/>
                  </a:lnTo>
                  <a:lnTo>
                    <a:pt x="690" y="982"/>
                  </a:lnTo>
                  <a:lnTo>
                    <a:pt x="686" y="1008"/>
                  </a:lnTo>
                  <a:lnTo>
                    <a:pt x="678" y="1034"/>
                  </a:lnTo>
                  <a:lnTo>
                    <a:pt x="670" y="1056"/>
                  </a:lnTo>
                  <a:lnTo>
                    <a:pt x="660" y="1080"/>
                  </a:lnTo>
                  <a:lnTo>
                    <a:pt x="648" y="1100"/>
                  </a:lnTo>
                  <a:lnTo>
                    <a:pt x="634" y="1120"/>
                  </a:lnTo>
                  <a:lnTo>
                    <a:pt x="620" y="1136"/>
                  </a:lnTo>
                  <a:lnTo>
                    <a:pt x="604" y="1152"/>
                  </a:lnTo>
                  <a:lnTo>
                    <a:pt x="588" y="1166"/>
                  </a:lnTo>
                  <a:lnTo>
                    <a:pt x="570" y="1178"/>
                  </a:lnTo>
                  <a:lnTo>
                    <a:pt x="552" y="1186"/>
                  </a:lnTo>
                  <a:lnTo>
                    <a:pt x="532" y="1194"/>
                  </a:lnTo>
                  <a:lnTo>
                    <a:pt x="512" y="1198"/>
                  </a:lnTo>
                  <a:lnTo>
                    <a:pt x="492" y="1198"/>
                  </a:lnTo>
                  <a:lnTo>
                    <a:pt x="492" y="1198"/>
                  </a:lnTo>
                  <a:lnTo>
                    <a:pt x="470" y="1196"/>
                  </a:lnTo>
                  <a:lnTo>
                    <a:pt x="450" y="1192"/>
                  </a:lnTo>
                  <a:lnTo>
                    <a:pt x="430" y="1184"/>
                  </a:lnTo>
                  <a:lnTo>
                    <a:pt x="412" y="1174"/>
                  </a:lnTo>
                  <a:lnTo>
                    <a:pt x="394" y="1162"/>
                  </a:lnTo>
                  <a:lnTo>
                    <a:pt x="378" y="1150"/>
                  </a:lnTo>
                  <a:lnTo>
                    <a:pt x="346" y="1122"/>
                  </a:lnTo>
                  <a:lnTo>
                    <a:pt x="314" y="1092"/>
                  </a:lnTo>
                  <a:lnTo>
                    <a:pt x="298" y="1080"/>
                  </a:lnTo>
                  <a:lnTo>
                    <a:pt x="280" y="1068"/>
                  </a:lnTo>
                  <a:lnTo>
                    <a:pt x="262" y="1058"/>
                  </a:lnTo>
                  <a:lnTo>
                    <a:pt x="244" y="1050"/>
                  </a:lnTo>
                  <a:lnTo>
                    <a:pt x="222" y="1046"/>
                  </a:lnTo>
                  <a:lnTo>
                    <a:pt x="200" y="1044"/>
                  </a:lnTo>
                  <a:lnTo>
                    <a:pt x="200" y="1044"/>
                  </a:lnTo>
                  <a:lnTo>
                    <a:pt x="182" y="1046"/>
                  </a:lnTo>
                  <a:lnTo>
                    <a:pt x="162" y="1048"/>
                  </a:lnTo>
                  <a:lnTo>
                    <a:pt x="144" y="1054"/>
                  </a:lnTo>
                  <a:lnTo>
                    <a:pt x="128" y="1062"/>
                  </a:lnTo>
                  <a:lnTo>
                    <a:pt x="110" y="1072"/>
                  </a:lnTo>
                  <a:lnTo>
                    <a:pt x="94" y="1084"/>
                  </a:lnTo>
                  <a:lnTo>
                    <a:pt x="80" y="1098"/>
                  </a:lnTo>
                  <a:lnTo>
                    <a:pt x="66" y="1114"/>
                  </a:lnTo>
                  <a:lnTo>
                    <a:pt x="52" y="1130"/>
                  </a:lnTo>
                  <a:lnTo>
                    <a:pt x="40" y="1148"/>
                  </a:lnTo>
                  <a:lnTo>
                    <a:pt x="30" y="1168"/>
                  </a:lnTo>
                  <a:lnTo>
                    <a:pt x="20" y="1190"/>
                  </a:lnTo>
                  <a:lnTo>
                    <a:pt x="14" y="1212"/>
                  </a:lnTo>
                  <a:lnTo>
                    <a:pt x="6" y="1234"/>
                  </a:lnTo>
                  <a:lnTo>
                    <a:pt x="2" y="1258"/>
                  </a:lnTo>
                  <a:lnTo>
                    <a:pt x="0" y="1284"/>
                  </a:lnTo>
                  <a:lnTo>
                    <a:pt x="0" y="1856"/>
                  </a:lnTo>
                  <a:lnTo>
                    <a:pt x="1856" y="1856"/>
                  </a:lnTo>
                  <a:lnTo>
                    <a:pt x="1856" y="0"/>
                  </a:lnTo>
                  <a:lnTo>
                    <a:pt x="1856" y="0"/>
                  </a:lnTo>
                  <a:close/>
                </a:path>
              </a:pathLst>
            </a:custGeom>
            <a:solidFill>
              <a:srgbClr val="D3FFFF"/>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grpSp>
      <p:sp>
        <p:nvSpPr>
          <p:cNvPr id="12" name="TextBox 11"/>
          <p:cNvSpPr txBox="1"/>
          <p:nvPr/>
        </p:nvSpPr>
        <p:spPr>
          <a:xfrm>
            <a:off x="918460" y="2168613"/>
            <a:ext cx="3343311" cy="2276008"/>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tx2"/>
                </a:solidFill>
                <a:latin typeface="Calibri" panose="020F0502020204030204" pitchFamily="34" charset="0"/>
                <a:cs typeface="Calibri" panose="020F0502020204030204" pitchFamily="34" charset="0"/>
              </a:rPr>
              <a:t>Kuali</a:t>
            </a:r>
            <a:r>
              <a:rPr lang="en-US" sz="2800" b="1" dirty="0">
                <a:solidFill>
                  <a:schemeClr val="tx2"/>
                </a:solidFill>
                <a:latin typeface="Calibri" panose="020F0502020204030204" pitchFamily="34" charset="0"/>
                <a:cs typeface="Calibri" panose="020F0502020204030204" pitchFamily="34" charset="0"/>
              </a:rPr>
              <a:t> COI </a:t>
            </a:r>
          </a:p>
          <a:p>
            <a:pPr algn="ctr" eaLnBrk="0" fontAlgn="base" hangingPunct="0">
              <a:lnSpc>
                <a:spcPct val="85000"/>
              </a:lnSpc>
              <a:spcBef>
                <a:spcPct val="0"/>
              </a:spcBef>
              <a:spcAft>
                <a:spcPct val="0"/>
              </a:spcAft>
            </a:pPr>
            <a:r>
              <a:rPr lang="en-US" sz="1600" dirty="0">
                <a:solidFill>
                  <a:schemeClr val="tx2"/>
                </a:solidFill>
                <a:latin typeface="Calibri" panose="020F0502020204030204" pitchFamily="34" charset="0"/>
                <a:cs typeface="Calibri" panose="020F0502020204030204" pitchFamily="34" charset="0"/>
              </a:rPr>
              <a:t>Facilitates Electronic Disclosures</a:t>
            </a:r>
          </a:p>
          <a:p>
            <a:pPr algn="ctr" eaLnBrk="0" fontAlgn="base" hangingPunct="0">
              <a:lnSpc>
                <a:spcPct val="85000"/>
              </a:lnSpc>
              <a:spcBef>
                <a:spcPct val="0"/>
              </a:spcBef>
              <a:spcAft>
                <a:spcPct val="0"/>
              </a:spcAft>
            </a:pPr>
            <a:r>
              <a:rPr lang="en-US" sz="1400" dirty="0">
                <a:solidFill>
                  <a:schemeClr val="tx2"/>
                </a:solidFill>
                <a:latin typeface="Calibri" panose="020F0502020204030204" pitchFamily="34" charset="0"/>
                <a:cs typeface="Calibri" panose="020F0502020204030204" pitchFamily="34" charset="0"/>
              </a:rPr>
              <a:t>(replacing paper/PDF process)</a:t>
            </a:r>
          </a:p>
          <a:p>
            <a:pPr eaLnBrk="0" fontAlgn="base" hangingPunct="0">
              <a:lnSpc>
                <a:spcPct val="85000"/>
              </a:lnSpc>
              <a:spcBef>
                <a:spcPct val="0"/>
              </a:spcBef>
              <a:spcAft>
                <a:spcPct val="0"/>
              </a:spcAft>
            </a:pPr>
            <a:endParaRPr lang="en-US" sz="1600" dirty="0">
              <a:solidFill>
                <a:schemeClr val="tx2"/>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dirty="0">
                <a:solidFill>
                  <a:schemeClr val="tx2"/>
                </a:solidFill>
                <a:latin typeface="Calibri" panose="020F0502020204030204" pitchFamily="34" charset="0"/>
                <a:cs typeface="Calibri" panose="020F0502020204030204" pitchFamily="34" charset="0"/>
              </a:rPr>
              <a:t>Covers the following form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tx2"/>
                </a:solidFill>
                <a:latin typeface="Calibri" panose="020F0502020204030204" pitchFamily="34" charset="0"/>
                <a:cs typeface="Calibri" panose="020F0502020204030204" pitchFamily="34" charset="0"/>
              </a:rPr>
              <a:t>PH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tx2"/>
                </a:solidFill>
                <a:latin typeface="Calibri" panose="020F0502020204030204" pitchFamily="34" charset="0"/>
                <a:cs typeface="Calibri" panose="020F0502020204030204" pitchFamily="34" charset="0"/>
              </a:rPr>
              <a:t>700U</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tx2"/>
                </a:solidFill>
                <a:latin typeface="Calibri" panose="020F0502020204030204" pitchFamily="34" charset="0"/>
                <a:cs typeface="Calibri" panose="020F0502020204030204" pitchFamily="34" charset="0"/>
              </a:rPr>
              <a:t>9510</a:t>
            </a:r>
          </a:p>
          <a:p>
            <a:pPr algn="ctr" eaLnBrk="0" fontAlgn="base" hangingPunct="0">
              <a:lnSpc>
                <a:spcPct val="85000"/>
              </a:lnSpc>
              <a:spcBef>
                <a:spcPct val="0"/>
              </a:spcBef>
              <a:spcAft>
                <a:spcPct val="0"/>
              </a:spcAft>
            </a:pPr>
            <a:endParaRPr lang="en-US" sz="1600" dirty="0">
              <a:solidFill>
                <a:srgbClr val="061F4C"/>
              </a:solidFill>
              <a:latin typeface="Arial Narrow" pitchFamily="34" charset="0"/>
              <a:cs typeface="Arial" pitchFamily="34" charset="0"/>
            </a:endParaRPr>
          </a:p>
        </p:txBody>
      </p:sp>
      <p:sp>
        <p:nvSpPr>
          <p:cNvPr id="13" name="TextBox 12"/>
          <p:cNvSpPr txBox="1"/>
          <p:nvPr/>
        </p:nvSpPr>
        <p:spPr>
          <a:xfrm>
            <a:off x="4647654" y="1943683"/>
            <a:ext cx="3198379" cy="3488647"/>
          </a:xfrm>
          <a:prstGeom prst="rect">
            <a:avLst/>
          </a:prstGeom>
          <a:noFill/>
          <a:effectLst/>
        </p:spPr>
        <p:txBody>
          <a:bodyPr wrap="square" rtlCol="0">
            <a:spAutoFit/>
          </a:bodyPr>
          <a:lstStyle/>
          <a:p>
            <a:pPr algn="ctr" eaLnBrk="0" fontAlgn="base" hangingPunct="0">
              <a:spcBef>
                <a:spcPct val="0"/>
              </a:spcBef>
              <a:spcAft>
                <a:spcPct val="0"/>
              </a:spcAft>
            </a:pPr>
            <a:r>
              <a:rPr lang="en-US" sz="3200" b="1" dirty="0" err="1">
                <a:solidFill>
                  <a:schemeClr val="bg1"/>
                </a:solidFill>
                <a:latin typeface="Calibri" panose="020F0502020204030204" pitchFamily="34" charset="0"/>
                <a:cs typeface="Calibri" panose="020F0502020204030204" pitchFamily="34" charset="0"/>
              </a:rPr>
              <a:t>Kuali</a:t>
            </a:r>
            <a:r>
              <a:rPr lang="en-US" sz="3200" b="1" dirty="0">
                <a:solidFill>
                  <a:schemeClr val="bg1"/>
                </a:solidFill>
                <a:latin typeface="Calibri" panose="020F0502020204030204" pitchFamily="34" charset="0"/>
                <a:cs typeface="Calibri" panose="020F0502020204030204" pitchFamily="34" charset="0"/>
              </a:rPr>
              <a:t> Research</a:t>
            </a:r>
          </a:p>
          <a:p>
            <a:pPr algn="ctr" eaLnBrk="0" fontAlgn="base" hangingPunct="0">
              <a:lnSpc>
                <a:spcPct val="85000"/>
              </a:lnSpc>
              <a:spcBef>
                <a:spcPct val="0"/>
              </a:spcBef>
              <a:spcAft>
                <a:spcPct val="0"/>
              </a:spcAft>
            </a:pPr>
            <a:r>
              <a:rPr lang="en-US" sz="1600" dirty="0">
                <a:solidFill>
                  <a:schemeClr val="bg1"/>
                </a:solidFill>
                <a:latin typeface="Calibri" panose="020F0502020204030204" pitchFamily="34" charset="0"/>
                <a:cs typeface="Calibri" panose="020F0502020204030204" pitchFamily="34" charset="0"/>
              </a:rPr>
              <a:t>Sponsored Programs Modules</a:t>
            </a:r>
          </a:p>
          <a:p>
            <a:pPr algn="ctr" eaLnBrk="0" fontAlgn="base" hangingPunct="0">
              <a:lnSpc>
                <a:spcPct val="85000"/>
              </a:lnSpc>
              <a:spcBef>
                <a:spcPct val="0"/>
              </a:spcBef>
              <a:spcAft>
                <a:spcPct val="0"/>
              </a:spcAft>
            </a:pPr>
            <a:r>
              <a:rPr lang="en-US" sz="1200" dirty="0">
                <a:solidFill>
                  <a:schemeClr val="bg1"/>
                </a:solidFill>
                <a:latin typeface="Calibri" panose="020F0502020204030204" pitchFamily="34" charset="0"/>
                <a:cs typeface="Calibri" panose="020F0502020204030204" pitchFamily="34" charset="0"/>
              </a:rPr>
              <a:t>(</a:t>
            </a:r>
            <a:r>
              <a:rPr lang="en-US" sz="1400" dirty="0">
                <a:solidFill>
                  <a:schemeClr val="bg1"/>
                </a:solidFill>
                <a:latin typeface="Calibri" panose="020F0502020204030204" pitchFamily="34" charset="0"/>
                <a:cs typeface="Calibri" panose="020F0502020204030204" pitchFamily="34" charset="0"/>
              </a:rPr>
              <a:t>replacing EPD, </a:t>
            </a:r>
            <a:r>
              <a:rPr lang="en-US" sz="1400" dirty="0" err="1">
                <a:solidFill>
                  <a:schemeClr val="bg1"/>
                </a:solidFill>
                <a:latin typeface="Calibri" panose="020F0502020204030204" pitchFamily="34" charset="0"/>
                <a:cs typeface="Calibri" panose="020F0502020204030204" pitchFamily="34" charset="0"/>
              </a:rPr>
              <a:t>Coeus</a:t>
            </a:r>
            <a:r>
              <a:rPr lang="en-US" sz="1400" dirty="0">
                <a:solidFill>
                  <a:schemeClr val="bg1"/>
                </a:solidFill>
                <a:latin typeface="Calibri" panose="020F0502020204030204" pitchFamily="34" charset="0"/>
                <a:cs typeface="Calibri" panose="020F0502020204030204" pitchFamily="34" charset="0"/>
              </a:rPr>
              <a:t> IP, </a:t>
            </a:r>
            <a:r>
              <a:rPr lang="en-US" sz="1400" dirty="0" err="1">
                <a:solidFill>
                  <a:schemeClr val="bg1"/>
                </a:solidFill>
                <a:latin typeface="Calibri" panose="020F0502020204030204" pitchFamily="34" charset="0"/>
                <a:cs typeface="Calibri" panose="020F0502020204030204" pitchFamily="34" charset="0"/>
              </a:rPr>
              <a:t>Coeus</a:t>
            </a:r>
            <a:r>
              <a:rPr lang="en-US" sz="1400" dirty="0">
                <a:solidFill>
                  <a:schemeClr val="bg1"/>
                </a:solidFill>
                <a:latin typeface="Calibri" panose="020F0502020204030204" pitchFamily="34" charset="0"/>
                <a:cs typeface="Calibri" panose="020F0502020204030204" pitchFamily="34" charset="0"/>
              </a:rPr>
              <a:t> Award)</a:t>
            </a:r>
          </a:p>
          <a:p>
            <a:pPr eaLnBrk="0" fontAlgn="base" hangingPunct="0">
              <a:lnSpc>
                <a:spcPct val="85000"/>
              </a:lnSpc>
              <a:spcBef>
                <a:spcPct val="0"/>
              </a:spcBef>
              <a:spcAft>
                <a:spcPct val="0"/>
              </a:spcAft>
            </a:pPr>
            <a:endParaRPr lang="en-US" sz="1600"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endParaRPr lang="en-US" sz="1600"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solidFill>
                <a:latin typeface="Calibri" panose="020F0502020204030204" pitchFamily="34" charset="0"/>
                <a:cs typeface="Calibri" panose="020F0502020204030204" pitchFamily="34" charset="0"/>
              </a:rPr>
              <a:t>Pre-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Proposal Development* *</a:t>
            </a:r>
            <a:r>
              <a:rPr lang="en-US" sz="1600" dirty="0">
                <a:solidFill>
                  <a:schemeClr val="bg1"/>
                </a:solidFill>
                <a:latin typeface="Calibri" panose="020F0502020204030204" pitchFamily="34" charset="0"/>
                <a:cs typeface="Calibri" panose="020F0502020204030204" pitchFamily="34" charset="0"/>
              </a:rPr>
              <a:t>(includes the KR Dashbo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Institutional Proposal</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Negotiations</a:t>
            </a:r>
          </a:p>
          <a:p>
            <a:pPr eaLnBrk="0" fontAlgn="base" hangingPunct="0">
              <a:lnSpc>
                <a:spcPct val="85000"/>
              </a:lnSpc>
              <a:spcBef>
                <a:spcPct val="0"/>
              </a:spcBef>
              <a:spcAft>
                <a:spcPct val="0"/>
              </a:spcAft>
            </a:pPr>
            <a:endParaRPr lang="en-US"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solidFill>
                <a:latin typeface="Calibri" panose="020F0502020204030204" pitchFamily="34" charset="0"/>
                <a:cs typeface="Calibri" panose="020F0502020204030204" pitchFamily="34" charset="0"/>
              </a:rPr>
              <a:t>Pos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Subaward</a:t>
            </a:r>
          </a:p>
        </p:txBody>
      </p:sp>
      <p:sp>
        <p:nvSpPr>
          <p:cNvPr id="14" name="TextBox 13"/>
          <p:cNvSpPr txBox="1"/>
          <p:nvPr/>
        </p:nvSpPr>
        <p:spPr>
          <a:xfrm>
            <a:off x="8068375" y="2186151"/>
            <a:ext cx="3613551" cy="978729"/>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tx2"/>
                </a:solidFill>
                <a:latin typeface="Calibri" panose="020F0502020204030204" pitchFamily="34" charset="0"/>
                <a:cs typeface="Calibri" panose="020F0502020204030204" pitchFamily="34" charset="0"/>
              </a:rPr>
              <a:t>Kuali</a:t>
            </a:r>
            <a:r>
              <a:rPr lang="en-US" sz="2800" b="1" dirty="0">
                <a:solidFill>
                  <a:schemeClr val="tx2"/>
                </a:solidFill>
                <a:latin typeface="Calibri" panose="020F0502020204030204" pitchFamily="34" charset="0"/>
                <a:cs typeface="Calibri" panose="020F0502020204030204" pitchFamily="34" charset="0"/>
              </a:rPr>
              <a:t> </a:t>
            </a:r>
            <a:r>
              <a:rPr lang="en-US" sz="2800" b="1" dirty="0" smtClean="0">
                <a:solidFill>
                  <a:schemeClr val="tx2"/>
                </a:solidFill>
                <a:latin typeface="Calibri" panose="020F0502020204030204" pitchFamily="34" charset="0"/>
                <a:cs typeface="Calibri" panose="020F0502020204030204" pitchFamily="34" charset="0"/>
              </a:rPr>
              <a:t>Protocols</a:t>
            </a:r>
            <a:endParaRPr lang="en-US" sz="2800" b="1" dirty="0">
              <a:solidFill>
                <a:schemeClr val="tx2"/>
              </a:solidFill>
              <a:latin typeface="Calibri" panose="020F0502020204030204" pitchFamily="34" charset="0"/>
              <a:cs typeface="Calibri" panose="020F0502020204030204" pitchFamily="34" charset="0"/>
            </a:endParaRPr>
          </a:p>
          <a:p>
            <a:pPr algn="ctr" eaLnBrk="0" fontAlgn="base" hangingPunct="0">
              <a:spcBef>
                <a:spcPct val="0"/>
              </a:spcBef>
              <a:spcAft>
                <a:spcPct val="0"/>
              </a:spcAft>
            </a:pPr>
            <a:r>
              <a:rPr lang="en-US" sz="1600" dirty="0">
                <a:solidFill>
                  <a:schemeClr val="tx2"/>
                </a:solidFill>
                <a:latin typeface="Calibri" panose="020F0502020204030204" pitchFamily="34" charset="0"/>
                <a:cs typeface="Calibri" panose="020F0502020204030204" pitchFamily="34" charset="0"/>
              </a:rPr>
              <a:t>Human Subjects Protocols</a:t>
            </a:r>
          </a:p>
          <a:p>
            <a:pPr algn="ctr" eaLnBrk="0" fontAlgn="base" hangingPunct="0">
              <a:lnSpc>
                <a:spcPct val="85000"/>
              </a:lnSpc>
              <a:spcBef>
                <a:spcPct val="0"/>
              </a:spcBef>
              <a:spcAft>
                <a:spcPct val="0"/>
              </a:spcAft>
            </a:pPr>
            <a:r>
              <a:rPr lang="en-US" sz="1400" dirty="0">
                <a:solidFill>
                  <a:schemeClr val="tx2"/>
                </a:solidFill>
                <a:latin typeface="Calibri" panose="020F0502020204030204" pitchFamily="34" charset="0"/>
                <a:cs typeface="Calibri" panose="020F0502020204030204" pitchFamily="34" charset="0"/>
              </a:rPr>
              <a:t>(replacing legacy system)</a:t>
            </a:r>
          </a:p>
        </p:txBody>
      </p:sp>
      <p:sp>
        <p:nvSpPr>
          <p:cNvPr id="3" name="TextBox 2"/>
          <p:cNvSpPr txBox="1"/>
          <p:nvPr/>
        </p:nvSpPr>
        <p:spPr>
          <a:xfrm>
            <a:off x="1042710" y="5966987"/>
            <a:ext cx="3165396" cy="338554"/>
          </a:xfrm>
          <a:prstGeom prst="rect">
            <a:avLst/>
          </a:prstGeom>
          <a:noFill/>
        </p:spPr>
        <p:txBody>
          <a:bodyPr wrap="square" rtlCol="0">
            <a:spAutoFit/>
          </a:bodyPr>
          <a:lstStyle/>
          <a:p>
            <a:r>
              <a:rPr lang="en-US" sz="1600" b="1" dirty="0">
                <a:solidFill>
                  <a:schemeClr val="tx2"/>
                </a:solidFill>
                <a:latin typeface="Calibri" panose="020F0502020204030204" pitchFamily="34" charset="0"/>
                <a:cs typeface="Calibri" panose="020F0502020204030204" pitchFamily="34" charset="0"/>
              </a:rPr>
              <a:t>Project Sponsor: </a:t>
            </a:r>
            <a:r>
              <a:rPr lang="en-US" sz="1600" dirty="0">
                <a:solidFill>
                  <a:schemeClr val="tx2"/>
                </a:solidFill>
                <a:latin typeface="Calibri" panose="020F0502020204030204" pitchFamily="34" charset="0"/>
                <a:cs typeface="Calibri" panose="020F0502020204030204" pitchFamily="34" charset="0"/>
              </a:rPr>
              <a:t>Sandra A. Brown</a:t>
            </a:r>
          </a:p>
        </p:txBody>
      </p:sp>
      <p:sp>
        <p:nvSpPr>
          <p:cNvPr id="10" name="TextBox 9"/>
          <p:cNvSpPr txBox="1"/>
          <p:nvPr/>
        </p:nvSpPr>
        <p:spPr>
          <a:xfrm>
            <a:off x="4537115" y="5985771"/>
            <a:ext cx="3165396" cy="338554"/>
          </a:xfrm>
          <a:prstGeom prst="rect">
            <a:avLst/>
          </a:prstGeom>
          <a:noFill/>
        </p:spPr>
        <p:txBody>
          <a:bodyPr wrap="square" rtlCol="0">
            <a:spAutoFit/>
          </a:bodyPr>
          <a:lstStyle/>
          <a:p>
            <a:r>
              <a:rPr lang="en-US" sz="1600" b="1" dirty="0">
                <a:solidFill>
                  <a:schemeClr val="bg1"/>
                </a:solidFill>
              </a:rPr>
              <a:t>Project Sponsor: </a:t>
            </a:r>
            <a:r>
              <a:rPr lang="en-US" sz="1600" dirty="0">
                <a:solidFill>
                  <a:schemeClr val="bg1"/>
                </a:solidFill>
              </a:rPr>
              <a:t>Sandra A. Brown</a:t>
            </a:r>
          </a:p>
        </p:txBody>
      </p:sp>
      <p:sp>
        <p:nvSpPr>
          <p:cNvPr id="11" name="TextBox 10"/>
          <p:cNvSpPr txBox="1"/>
          <p:nvPr/>
        </p:nvSpPr>
        <p:spPr>
          <a:xfrm>
            <a:off x="8199872" y="5962382"/>
            <a:ext cx="3165396" cy="338554"/>
          </a:xfrm>
          <a:prstGeom prst="rect">
            <a:avLst/>
          </a:prstGeom>
          <a:noFill/>
        </p:spPr>
        <p:txBody>
          <a:bodyPr wrap="square" rtlCol="0">
            <a:spAutoFit/>
          </a:bodyPr>
          <a:lstStyle/>
          <a:p>
            <a:r>
              <a:rPr lang="en-US" sz="1600" b="1" dirty="0">
                <a:solidFill>
                  <a:schemeClr val="tx2"/>
                </a:solidFill>
              </a:rPr>
              <a:t>Project Sponsor: </a:t>
            </a:r>
            <a:r>
              <a:rPr lang="en-US" sz="1600" dirty="0">
                <a:solidFill>
                  <a:schemeClr val="tx2"/>
                </a:solidFill>
              </a:rPr>
              <a:t>Gary Firestein</a:t>
            </a:r>
          </a:p>
        </p:txBody>
      </p:sp>
      <p:sp>
        <p:nvSpPr>
          <p:cNvPr id="4" name="Title 3"/>
          <p:cNvSpPr>
            <a:spLocks noGrp="1"/>
          </p:cNvSpPr>
          <p:nvPr>
            <p:ph type="title"/>
          </p:nvPr>
        </p:nvSpPr>
        <p:spPr/>
        <p:txBody>
          <a:bodyPr/>
          <a:lstStyle/>
          <a:p>
            <a:r>
              <a:rPr lang="en-US" dirty="0" err="1"/>
              <a:t>Kuali</a:t>
            </a:r>
            <a:r>
              <a:rPr lang="en-US" dirty="0"/>
              <a:t> Initiatives at UC San Diego</a:t>
            </a:r>
          </a:p>
        </p:txBody>
      </p:sp>
      <p:sp>
        <p:nvSpPr>
          <p:cNvPr id="6" name="Text Placeholder 5"/>
          <p:cNvSpPr>
            <a:spLocks noGrp="1"/>
          </p:cNvSpPr>
          <p:nvPr>
            <p:ph type="body" sz="quarter" idx="13"/>
          </p:nvPr>
        </p:nvSpPr>
        <p:spPr/>
        <p:txBody>
          <a:bodyPr/>
          <a:lstStyle/>
          <a:p>
            <a:r>
              <a:rPr lang="en-US" dirty="0"/>
              <a:t>ESR </a:t>
            </a:r>
            <a:r>
              <a:rPr lang="en-US" dirty="0" err="1"/>
              <a:t>Kuali</a:t>
            </a:r>
            <a:r>
              <a:rPr lang="en-US" dirty="0"/>
              <a:t> project updates</a:t>
            </a:r>
          </a:p>
        </p:txBody>
      </p:sp>
      <p:sp>
        <p:nvSpPr>
          <p:cNvPr id="5" name="Rectangle 4"/>
          <p:cNvSpPr/>
          <p:nvPr/>
        </p:nvSpPr>
        <p:spPr>
          <a:xfrm>
            <a:off x="9341708" y="3164880"/>
            <a:ext cx="2233522" cy="2862322"/>
          </a:xfrm>
          <a:prstGeom prst="rect">
            <a:avLst/>
          </a:prstGeom>
        </p:spPr>
        <p:txBody>
          <a:bodyPr wrap="square">
            <a:spAutoFit/>
          </a:bodyPr>
          <a:lstStyle/>
          <a:p>
            <a:pPr marL="285750" indent="-285750">
              <a:buFont typeface="Arial" panose="020B0604020202020204" pitchFamily="34" charset="0"/>
              <a:buChar char="•"/>
            </a:pPr>
            <a:r>
              <a:rPr lang="en-US" dirty="0">
                <a:solidFill>
                  <a:schemeClr val="tx2">
                    <a:lumMod val="50000"/>
                  </a:schemeClr>
                </a:solidFill>
              </a:rPr>
              <a:t>PIs prepare and submit</a:t>
            </a:r>
          </a:p>
          <a:p>
            <a:pPr marL="742950" lvl="1" indent="-285750">
              <a:buFont typeface="Arial" panose="020B0604020202020204" pitchFamily="34" charset="0"/>
              <a:buChar char="•"/>
            </a:pPr>
            <a:r>
              <a:rPr lang="en-US" dirty="0">
                <a:solidFill>
                  <a:schemeClr val="tx2">
                    <a:lumMod val="50000"/>
                  </a:schemeClr>
                </a:solidFill>
              </a:rPr>
              <a:t>New Studies</a:t>
            </a:r>
          </a:p>
          <a:p>
            <a:pPr marL="742950" lvl="1" indent="-285750">
              <a:buFont typeface="Arial" panose="020B0604020202020204" pitchFamily="34" charset="0"/>
              <a:buChar char="•"/>
            </a:pPr>
            <a:r>
              <a:rPr lang="en-US" dirty="0">
                <a:solidFill>
                  <a:schemeClr val="tx2">
                    <a:lumMod val="50000"/>
                  </a:schemeClr>
                </a:solidFill>
              </a:rPr>
              <a:t>Modifications</a:t>
            </a:r>
          </a:p>
          <a:p>
            <a:pPr marL="742950" lvl="1" indent="-285750">
              <a:buFont typeface="Arial" panose="020B0604020202020204" pitchFamily="34" charset="0"/>
              <a:buChar char="•"/>
            </a:pPr>
            <a:r>
              <a:rPr lang="en-US" dirty="0">
                <a:solidFill>
                  <a:schemeClr val="tx2">
                    <a:lumMod val="50000"/>
                  </a:schemeClr>
                </a:solidFill>
              </a:rPr>
              <a:t>Renewals</a:t>
            </a:r>
          </a:p>
          <a:p>
            <a:pPr marL="742950" lvl="1" indent="-285750">
              <a:buFont typeface="Arial" panose="020B0604020202020204" pitchFamily="34" charset="0"/>
              <a:buChar char="•"/>
            </a:pPr>
            <a:r>
              <a:rPr lang="en-US" dirty="0">
                <a:solidFill>
                  <a:schemeClr val="tx2">
                    <a:lumMod val="50000"/>
                  </a:schemeClr>
                </a:solidFill>
              </a:rPr>
              <a:t>Reports</a:t>
            </a:r>
          </a:p>
          <a:p>
            <a:pPr marL="285750" indent="-285750">
              <a:buFont typeface="Arial" panose="020B0604020202020204" pitchFamily="34" charset="0"/>
              <a:buChar char="•"/>
            </a:pPr>
            <a:r>
              <a:rPr lang="en-US" dirty="0">
                <a:solidFill>
                  <a:schemeClr val="tx2">
                    <a:lumMod val="50000"/>
                  </a:schemeClr>
                </a:solidFill>
              </a:rPr>
              <a:t>For review by</a:t>
            </a:r>
          </a:p>
          <a:p>
            <a:pPr marL="742950" lvl="1" indent="-285750">
              <a:buFont typeface="Arial" panose="020B0604020202020204" pitchFamily="34" charset="0"/>
              <a:buChar char="•"/>
            </a:pPr>
            <a:r>
              <a:rPr lang="en-US" dirty="0">
                <a:solidFill>
                  <a:schemeClr val="tx2">
                    <a:lumMod val="50000"/>
                  </a:schemeClr>
                </a:solidFill>
              </a:rPr>
              <a:t>IRBs</a:t>
            </a:r>
          </a:p>
          <a:p>
            <a:pPr marL="742950" lvl="1" indent="-285750">
              <a:buFont typeface="Arial" panose="020B0604020202020204" pitchFamily="34" charset="0"/>
              <a:buChar char="•"/>
            </a:pPr>
            <a:r>
              <a:rPr lang="en-US" dirty="0">
                <a:solidFill>
                  <a:schemeClr val="tx2">
                    <a:lumMod val="50000"/>
                  </a:schemeClr>
                </a:solidFill>
              </a:rPr>
              <a:t>SCRO</a:t>
            </a:r>
          </a:p>
          <a:p>
            <a:pPr marL="742950" lvl="1" indent="-285750">
              <a:buFont typeface="Arial" panose="020B0604020202020204" pitchFamily="34" charset="0"/>
              <a:buChar char="•"/>
            </a:pPr>
            <a:r>
              <a:rPr lang="en-US" dirty="0">
                <a:solidFill>
                  <a:schemeClr val="tx2">
                    <a:lumMod val="50000"/>
                  </a:schemeClr>
                </a:solidFill>
              </a:rPr>
              <a:t>HRPP</a:t>
            </a:r>
          </a:p>
        </p:txBody>
      </p:sp>
    </p:spTree>
    <p:extLst>
      <p:ext uri="{BB962C8B-B14F-4D97-AF65-F5344CB8AC3E}">
        <p14:creationId xmlns:p14="http://schemas.microsoft.com/office/powerpoint/2010/main" val="414821999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alization</a:t>
            </a:r>
            <a:endParaRPr lang="en-US" dirty="0"/>
          </a:p>
        </p:txBody>
      </p:sp>
      <p:pic>
        <p:nvPicPr>
          <p:cNvPr id="7" name="Content Placehold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654431" y="2745097"/>
            <a:ext cx="1905732" cy="1905732"/>
          </a:xfrm>
        </p:spPr>
      </p:pic>
      <p:sp>
        <p:nvSpPr>
          <p:cNvPr id="6" name="Text Placeholder 5"/>
          <p:cNvSpPr>
            <a:spLocks noGrp="1"/>
          </p:cNvSpPr>
          <p:nvPr>
            <p:ph type="body" sz="quarter" idx="13"/>
          </p:nvPr>
        </p:nvSpPr>
        <p:spPr/>
        <p:txBody>
          <a:bodyPr/>
          <a:lstStyle/>
          <a:p>
            <a:r>
              <a:rPr lang="en-US" dirty="0" smtClean="0"/>
              <a:t>How is it going?</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8885" y="2592210"/>
            <a:ext cx="2396673" cy="2396673"/>
          </a:xfrm>
          <a:prstGeom prst="rect">
            <a:avLst/>
          </a:prstGeom>
        </p:spPr>
      </p:pic>
      <p:sp>
        <p:nvSpPr>
          <p:cNvPr id="9" name="TextBox 8"/>
          <p:cNvSpPr txBox="1"/>
          <p:nvPr/>
        </p:nvSpPr>
        <p:spPr>
          <a:xfrm>
            <a:off x="241824" y="4632934"/>
            <a:ext cx="3736436" cy="830997"/>
          </a:xfrm>
          <a:prstGeom prst="rect">
            <a:avLst/>
          </a:prstGeom>
          <a:noFill/>
        </p:spPr>
        <p:txBody>
          <a:bodyPr wrap="square" rtlCol="0">
            <a:spAutoFit/>
          </a:bodyPr>
          <a:lstStyle/>
          <a:p>
            <a:pPr algn="ctr"/>
            <a:r>
              <a:rPr lang="en-US" sz="2400" dirty="0" smtClean="0"/>
              <a:t>Are people using the system and business processes?</a:t>
            </a:r>
            <a:endParaRPr lang="en-US" sz="2400" dirty="0"/>
          </a:p>
        </p:txBody>
      </p:sp>
      <p:sp>
        <p:nvSpPr>
          <p:cNvPr id="10" name="TextBox 9"/>
          <p:cNvSpPr txBox="1"/>
          <p:nvPr/>
        </p:nvSpPr>
        <p:spPr>
          <a:xfrm>
            <a:off x="4551224" y="1897962"/>
            <a:ext cx="3108960" cy="954107"/>
          </a:xfrm>
          <a:prstGeom prst="rect">
            <a:avLst/>
          </a:prstGeom>
          <a:noFill/>
        </p:spPr>
        <p:txBody>
          <a:bodyPr wrap="square" rtlCol="0">
            <a:spAutoFit/>
          </a:bodyPr>
          <a:lstStyle/>
          <a:p>
            <a:pPr algn="ctr"/>
            <a:r>
              <a:rPr lang="en-US" sz="2800" dirty="0" smtClean="0"/>
              <a:t>Is the system working?</a:t>
            </a:r>
            <a:endParaRPr lang="en-US" sz="2800" dirty="0"/>
          </a:p>
        </p:txBody>
      </p:sp>
      <p:sp>
        <p:nvSpPr>
          <p:cNvPr id="11" name="TextBox 10"/>
          <p:cNvSpPr txBox="1"/>
          <p:nvPr/>
        </p:nvSpPr>
        <p:spPr>
          <a:xfrm>
            <a:off x="8641222" y="4844653"/>
            <a:ext cx="3108960" cy="830997"/>
          </a:xfrm>
          <a:prstGeom prst="rect">
            <a:avLst/>
          </a:prstGeom>
          <a:noFill/>
        </p:spPr>
        <p:txBody>
          <a:bodyPr wrap="square" rtlCol="0">
            <a:spAutoFit/>
          </a:bodyPr>
          <a:lstStyle/>
          <a:p>
            <a:pPr algn="ctr"/>
            <a:r>
              <a:rPr lang="en-US" sz="2400" dirty="0" smtClean="0"/>
              <a:t>Is there anything else we need to do?</a:t>
            </a:r>
            <a:endParaRPr lang="en-US" sz="2400" dirty="0"/>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79115" y="1990097"/>
            <a:ext cx="1447565" cy="1447565"/>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8417" y="3628828"/>
            <a:ext cx="1189719" cy="1189719"/>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8925" y="1787400"/>
            <a:ext cx="1634817" cy="1634817"/>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94953" y="3455772"/>
            <a:ext cx="937803" cy="937803"/>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61063" y="1803655"/>
            <a:ext cx="1312413" cy="1312413"/>
          </a:xfrm>
          <a:prstGeom prst="rect">
            <a:avLst/>
          </a:prstGeom>
        </p:spPr>
      </p:pic>
      <p:sp>
        <p:nvSpPr>
          <p:cNvPr id="20" name="Rounded Rectangle 19"/>
          <p:cNvSpPr/>
          <p:nvPr/>
        </p:nvSpPr>
        <p:spPr>
          <a:xfrm>
            <a:off x="154024" y="1700848"/>
            <a:ext cx="3912037" cy="41416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4163486" y="1681204"/>
            <a:ext cx="3912037" cy="41416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8196906" y="1666648"/>
            <a:ext cx="3912037" cy="414168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8869" y="3249928"/>
            <a:ext cx="1319804" cy="1319804"/>
          </a:xfrm>
          <a:prstGeom prst="rect">
            <a:avLst/>
          </a:prstGeom>
        </p:spPr>
      </p:pic>
    </p:spTree>
    <p:extLst>
      <p:ext uri="{BB962C8B-B14F-4D97-AF65-F5344CB8AC3E}">
        <p14:creationId xmlns:p14="http://schemas.microsoft.com/office/powerpoint/2010/main" val="3526232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998548162"/>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After go-live, the stabilization period is typically three-nine months</a:t>
            </a:r>
          </a:p>
        </p:txBody>
      </p:sp>
      <p:sp>
        <p:nvSpPr>
          <p:cNvPr id="4" name="Slide Number Placeholder 3"/>
          <p:cNvSpPr>
            <a:spLocks noGrp="1"/>
          </p:cNvSpPr>
          <p:nvPr>
            <p:ph type="sldNum" sz="quarter" idx="12"/>
          </p:nvPr>
        </p:nvSpPr>
        <p:spPr/>
        <p:txBody>
          <a:bodyPr/>
          <a:lstStyle/>
          <a:p>
            <a:fld id="{D0A8BD7E-3FB1-46E0-88A2-F69CF9BE5AD3}" type="slidenum">
              <a:rPr lang="en-US" smtClean="0"/>
              <a:pPr/>
              <a:t>41</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Stabilization</a:t>
            </a:r>
            <a:endParaRPr lang="en-US" dirty="0"/>
          </a:p>
        </p:txBody>
      </p:sp>
      <p:sp>
        <p:nvSpPr>
          <p:cNvPr id="6" name="TextBox 5"/>
          <p:cNvSpPr txBox="1"/>
          <p:nvPr/>
        </p:nvSpPr>
        <p:spPr>
          <a:xfrm>
            <a:off x="10377961" y="5503789"/>
            <a:ext cx="1176746" cy="253916"/>
          </a:xfrm>
          <a:prstGeom prst="rect">
            <a:avLst/>
          </a:prstGeom>
          <a:noFill/>
        </p:spPr>
        <p:txBody>
          <a:bodyPr wrap="square" rtlCol="0">
            <a:spAutoFit/>
          </a:bodyPr>
          <a:lstStyle/>
          <a:p>
            <a:pPr algn="ctr"/>
            <a:r>
              <a:rPr lang="en-US" sz="1050" dirty="0" smtClean="0">
                <a:solidFill>
                  <a:srgbClr val="2E75B6"/>
                </a:solidFill>
              </a:rPr>
              <a:t>Apr – Jun 2020</a:t>
            </a:r>
            <a:endParaRPr lang="en-US" sz="1050" dirty="0">
              <a:solidFill>
                <a:srgbClr val="2E75B6"/>
              </a:solidFill>
            </a:endParaRPr>
          </a:p>
        </p:txBody>
      </p:sp>
    </p:spTree>
    <p:extLst>
      <p:ext uri="{BB962C8B-B14F-4D97-AF65-F5344CB8AC3E}">
        <p14:creationId xmlns:p14="http://schemas.microsoft.com/office/powerpoint/2010/main" val="29042122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tabilization</a:t>
            </a:r>
            <a:endParaRPr lang="en-US" dirty="0"/>
          </a:p>
        </p:txBody>
      </p:sp>
      <p:sp>
        <p:nvSpPr>
          <p:cNvPr id="7" name="Text Placeholder 6"/>
          <p:cNvSpPr>
            <a:spLocks noGrp="1"/>
          </p:cNvSpPr>
          <p:nvPr>
            <p:ph type="body" sz="quarter" idx="13"/>
          </p:nvPr>
        </p:nvSpPr>
        <p:spPr/>
        <p:txBody>
          <a:bodyPr/>
          <a:lstStyle/>
          <a:p>
            <a:r>
              <a:rPr lang="en-US" dirty="0" smtClean="0"/>
              <a:t>Smooth sailing? or Rough Sea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1855" y="1087395"/>
            <a:ext cx="4877481" cy="4877481"/>
          </a:xfrm>
          <a:prstGeom prst="rect">
            <a:avLst/>
          </a:prstGeom>
        </p:spPr>
      </p:pic>
      <p:sp>
        <p:nvSpPr>
          <p:cNvPr id="2" name="TextBox 1"/>
          <p:cNvSpPr txBox="1"/>
          <p:nvPr/>
        </p:nvSpPr>
        <p:spPr>
          <a:xfrm>
            <a:off x="584790" y="2775098"/>
            <a:ext cx="5378265" cy="1200329"/>
          </a:xfrm>
          <a:prstGeom prst="rect">
            <a:avLst/>
          </a:prstGeom>
          <a:noFill/>
        </p:spPr>
        <p:txBody>
          <a:bodyPr wrap="square" rtlCol="0">
            <a:spAutoFit/>
          </a:bodyPr>
          <a:lstStyle/>
          <a:p>
            <a:r>
              <a:rPr lang="en-US" sz="2400" dirty="0" smtClean="0"/>
              <a:t>How do we need to adjust post-implementation to maintain operations long term?</a:t>
            </a:r>
          </a:p>
        </p:txBody>
      </p:sp>
    </p:spTree>
    <p:extLst>
      <p:ext uri="{BB962C8B-B14F-4D97-AF65-F5344CB8AC3E}">
        <p14:creationId xmlns:p14="http://schemas.microsoft.com/office/powerpoint/2010/main" val="367428665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08759816"/>
              </p:ext>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err="1" smtClean="0"/>
              <a:t>Kuali</a:t>
            </a:r>
            <a:r>
              <a:rPr lang="en-US" dirty="0" smtClean="0"/>
              <a:t> Research </a:t>
            </a:r>
            <a:endParaRPr lang="en-US" dirty="0"/>
          </a:p>
        </p:txBody>
      </p:sp>
      <p:sp>
        <p:nvSpPr>
          <p:cNvPr id="3" name="Text Placeholder 2"/>
          <p:cNvSpPr>
            <a:spLocks noGrp="1"/>
          </p:cNvSpPr>
          <p:nvPr>
            <p:ph type="body" sz="quarter" idx="13"/>
          </p:nvPr>
        </p:nvSpPr>
        <p:spPr/>
        <p:txBody>
          <a:bodyPr/>
          <a:lstStyle/>
          <a:p>
            <a:r>
              <a:rPr lang="en-US" dirty="0" smtClean="0"/>
              <a:t>Stay up to date by…</a:t>
            </a:r>
            <a:endParaRPr lang="en-US" dirty="0"/>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solidFill>
                  <a:srgbClr val="A5A5A5"/>
                </a:solidFill>
              </a:rPr>
              <a:pPr/>
              <a:t>43</a:t>
            </a:fld>
            <a:endParaRPr lang="en-US" dirty="0">
              <a:solidFill>
                <a:srgbClr val="A5A5A5"/>
              </a:solidFill>
            </a:endParaRPr>
          </a:p>
        </p:txBody>
      </p:sp>
      <p:sp>
        <p:nvSpPr>
          <p:cNvPr id="11" name="TextBox 10"/>
          <p:cNvSpPr txBox="1"/>
          <p:nvPr/>
        </p:nvSpPr>
        <p:spPr>
          <a:xfrm>
            <a:off x="5487336" y="1536911"/>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solidFill>
                  <a:srgbClr val="05BFD5"/>
                </a:solidFill>
              </a:rPr>
              <a:t>We are here</a:t>
            </a:r>
            <a:endParaRPr lang="en-US" dirty="0">
              <a:solidFill>
                <a:srgbClr val="05BFD5"/>
              </a:solidFill>
            </a:endParaRPr>
          </a:p>
        </p:txBody>
      </p:sp>
      <p:cxnSp>
        <p:nvCxnSpPr>
          <p:cNvPr id="18" name="Elbow Connector 17"/>
          <p:cNvCxnSpPr>
            <a:stCxn id="11" idx="1"/>
          </p:cNvCxnSpPr>
          <p:nvPr/>
        </p:nvCxnSpPr>
        <p:spPr>
          <a:xfrm rot="10800000" flipV="1">
            <a:off x="5206306" y="1721577"/>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20" name="TextBox 19"/>
          <p:cNvSpPr txBox="1"/>
          <p:nvPr/>
        </p:nvSpPr>
        <p:spPr>
          <a:xfrm>
            <a:off x="356561"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Oct – Dec 2017</a:t>
            </a:r>
            <a:endParaRPr lang="en-US" sz="1050" dirty="0">
              <a:solidFill>
                <a:schemeClr val="bg1">
                  <a:lumMod val="50000"/>
                </a:schemeClr>
              </a:solidFill>
            </a:endParaRPr>
          </a:p>
        </p:txBody>
      </p:sp>
      <p:sp>
        <p:nvSpPr>
          <p:cNvPr id="23" name="TextBox 22"/>
          <p:cNvSpPr txBox="1"/>
          <p:nvPr/>
        </p:nvSpPr>
        <p:spPr>
          <a:xfrm>
            <a:off x="1612884"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18</a:t>
            </a:r>
            <a:endParaRPr lang="en-US" sz="1050" dirty="0">
              <a:solidFill>
                <a:schemeClr val="bg1">
                  <a:lumMod val="50000"/>
                </a:schemeClr>
              </a:solidFill>
            </a:endParaRPr>
          </a:p>
        </p:txBody>
      </p:sp>
      <p:sp>
        <p:nvSpPr>
          <p:cNvPr id="24" name="TextBox 23"/>
          <p:cNvSpPr txBox="1"/>
          <p:nvPr/>
        </p:nvSpPr>
        <p:spPr>
          <a:xfrm>
            <a:off x="2768421" y="2709334"/>
            <a:ext cx="1335900" cy="253916"/>
          </a:xfrm>
          <a:prstGeom prst="rect">
            <a:avLst/>
          </a:prstGeom>
          <a:noFill/>
        </p:spPr>
        <p:txBody>
          <a:bodyPr wrap="square" rtlCol="0">
            <a:spAutoFit/>
          </a:bodyPr>
          <a:lstStyle/>
          <a:p>
            <a:pPr algn="ctr"/>
            <a:r>
              <a:rPr lang="en-US" sz="1050" dirty="0">
                <a:solidFill>
                  <a:schemeClr val="bg1">
                    <a:lumMod val="50000"/>
                  </a:schemeClr>
                </a:solidFill>
              </a:rPr>
              <a:t>Apr 2018 – Apr 2019</a:t>
            </a:r>
          </a:p>
        </p:txBody>
      </p:sp>
      <p:sp>
        <p:nvSpPr>
          <p:cNvPr id="25" name="TextBox 24"/>
          <p:cNvSpPr txBox="1"/>
          <p:nvPr/>
        </p:nvSpPr>
        <p:spPr>
          <a:xfrm>
            <a:off x="3966376" y="2709334"/>
            <a:ext cx="1394268" cy="253916"/>
          </a:xfrm>
          <a:prstGeom prst="rect">
            <a:avLst/>
          </a:prstGeom>
          <a:noFill/>
        </p:spPr>
        <p:txBody>
          <a:bodyPr wrap="square" rtlCol="0">
            <a:spAutoFit/>
          </a:bodyPr>
          <a:lstStyle/>
          <a:p>
            <a:pPr algn="ctr"/>
            <a:r>
              <a:rPr lang="en-US" sz="1050" dirty="0" smtClean="0">
                <a:solidFill>
                  <a:schemeClr val="accent2"/>
                </a:solidFill>
              </a:rPr>
              <a:t>Aug 2018 – May 2019</a:t>
            </a:r>
            <a:endParaRPr lang="en-US" sz="1050" dirty="0">
              <a:solidFill>
                <a:schemeClr val="accent2"/>
              </a:solidFill>
            </a:endParaRPr>
          </a:p>
        </p:txBody>
      </p:sp>
      <p:sp>
        <p:nvSpPr>
          <p:cNvPr id="26" name="TextBox 25"/>
          <p:cNvSpPr txBox="1"/>
          <p:nvPr/>
        </p:nvSpPr>
        <p:spPr>
          <a:xfrm>
            <a:off x="5381853" y="2709334"/>
            <a:ext cx="1176746" cy="253916"/>
          </a:xfrm>
          <a:prstGeom prst="rect">
            <a:avLst/>
          </a:prstGeom>
          <a:noFill/>
        </p:spPr>
        <p:txBody>
          <a:bodyPr wrap="square" rtlCol="0">
            <a:spAutoFit/>
          </a:bodyPr>
          <a:lstStyle/>
          <a:p>
            <a:pPr algn="ctr"/>
            <a:r>
              <a:rPr lang="en-US" sz="1050" dirty="0">
                <a:solidFill>
                  <a:schemeClr val="accent2"/>
                </a:solidFill>
              </a:rPr>
              <a:t>May – Nov 2019</a:t>
            </a:r>
          </a:p>
        </p:txBody>
      </p:sp>
      <p:sp>
        <p:nvSpPr>
          <p:cNvPr id="27" name="TextBox 26"/>
          <p:cNvSpPr txBox="1"/>
          <p:nvPr/>
        </p:nvSpPr>
        <p:spPr>
          <a:xfrm>
            <a:off x="6411558" y="2702218"/>
            <a:ext cx="1403364" cy="253916"/>
          </a:xfrm>
          <a:prstGeom prst="rect">
            <a:avLst/>
          </a:prstGeom>
          <a:noFill/>
        </p:spPr>
        <p:txBody>
          <a:bodyPr wrap="square" rtlCol="0">
            <a:spAutoFit/>
          </a:bodyPr>
          <a:lstStyle/>
          <a:p>
            <a:pPr algn="ctr"/>
            <a:r>
              <a:rPr lang="en-US" sz="1050" dirty="0" smtClean="0">
                <a:solidFill>
                  <a:schemeClr val="bg1">
                    <a:lumMod val="50000"/>
                  </a:schemeClr>
                </a:solidFill>
              </a:rPr>
              <a:t>Dec 2019 – Jan 2020</a:t>
            </a:r>
            <a:endParaRPr lang="en-US" sz="1050" dirty="0">
              <a:solidFill>
                <a:schemeClr val="bg1">
                  <a:lumMod val="50000"/>
                </a:schemeClr>
              </a:solidFill>
            </a:endParaRPr>
          </a:p>
        </p:txBody>
      </p:sp>
      <p:sp>
        <p:nvSpPr>
          <p:cNvPr id="32" name="TextBox 31"/>
          <p:cNvSpPr txBox="1"/>
          <p:nvPr/>
        </p:nvSpPr>
        <p:spPr>
          <a:xfrm>
            <a:off x="7814922" y="2709333"/>
            <a:ext cx="1256323" cy="253916"/>
          </a:xfrm>
          <a:prstGeom prst="rect">
            <a:avLst/>
          </a:prstGeom>
          <a:noFill/>
        </p:spPr>
        <p:txBody>
          <a:bodyPr wrap="square" rtlCol="0">
            <a:spAutoFit/>
          </a:bodyPr>
          <a:lstStyle/>
          <a:p>
            <a:pPr algn="ctr"/>
            <a:r>
              <a:rPr lang="en-US" sz="1050" b="1" dirty="0" smtClean="0">
                <a:solidFill>
                  <a:schemeClr val="accent2"/>
                </a:solidFill>
              </a:rPr>
              <a:t>Jan 21, 2020</a:t>
            </a:r>
            <a:endParaRPr lang="en-US" sz="1050" b="1" dirty="0">
              <a:solidFill>
                <a:schemeClr val="accent2"/>
              </a:solidFill>
            </a:endParaRPr>
          </a:p>
        </p:txBody>
      </p:sp>
      <p:sp>
        <p:nvSpPr>
          <p:cNvPr id="33" name="TextBox 32"/>
          <p:cNvSpPr txBox="1"/>
          <p:nvPr/>
        </p:nvSpPr>
        <p:spPr>
          <a:xfrm>
            <a:off x="9150822"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20</a:t>
            </a:r>
            <a:endParaRPr lang="en-US" sz="1050" dirty="0">
              <a:solidFill>
                <a:schemeClr val="bg1">
                  <a:lumMod val="50000"/>
                </a:schemeClr>
              </a:solidFill>
            </a:endParaRPr>
          </a:p>
        </p:txBody>
      </p:sp>
      <p:sp>
        <p:nvSpPr>
          <p:cNvPr id="34" name="TextBox 33"/>
          <p:cNvSpPr txBox="1"/>
          <p:nvPr/>
        </p:nvSpPr>
        <p:spPr>
          <a:xfrm>
            <a:off x="10407145"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Jun 2020</a:t>
            </a:r>
            <a:endParaRPr lang="en-US" sz="1050" dirty="0">
              <a:solidFill>
                <a:schemeClr val="bg1">
                  <a:lumMod val="50000"/>
                </a:schemeClr>
              </a:solidFill>
            </a:endParaRPr>
          </a:p>
        </p:txBody>
      </p:sp>
      <p:sp>
        <p:nvSpPr>
          <p:cNvPr id="8" name="Rectangle 7"/>
          <p:cNvSpPr/>
          <p:nvPr/>
        </p:nvSpPr>
        <p:spPr>
          <a:xfrm>
            <a:off x="544324" y="3203856"/>
            <a:ext cx="3559997" cy="646331"/>
          </a:xfrm>
          <a:prstGeom prst="rect">
            <a:avLst/>
          </a:prstGeom>
        </p:spPr>
        <p:txBody>
          <a:bodyPr wrap="square">
            <a:spAutoFit/>
          </a:bodyPr>
          <a:lstStyle/>
          <a:p>
            <a:pPr algn="ctr"/>
            <a:r>
              <a:rPr lang="en-US" dirty="0">
                <a:solidFill>
                  <a:srgbClr val="05BFD5"/>
                </a:solidFill>
              </a:rPr>
              <a:t>Visiting the </a:t>
            </a:r>
            <a:r>
              <a:rPr lang="en-US" dirty="0" err="1">
                <a:solidFill>
                  <a:srgbClr val="05BFD5"/>
                </a:solidFill>
              </a:rPr>
              <a:t>Kuali</a:t>
            </a:r>
            <a:r>
              <a:rPr lang="en-US" dirty="0">
                <a:solidFill>
                  <a:srgbClr val="05BFD5"/>
                </a:solidFill>
              </a:rPr>
              <a:t> Research </a:t>
            </a:r>
            <a:r>
              <a:rPr lang="en-US" dirty="0" smtClean="0">
                <a:solidFill>
                  <a:srgbClr val="05BFD5"/>
                </a:solidFill>
              </a:rPr>
              <a:t>Website</a:t>
            </a:r>
          </a:p>
          <a:p>
            <a:pPr algn="ctr"/>
            <a:r>
              <a:rPr lang="en-US" dirty="0" smtClean="0">
                <a:solidFill>
                  <a:srgbClr val="05BFD5"/>
                </a:solidFill>
              </a:rPr>
              <a:t> </a:t>
            </a:r>
            <a:r>
              <a:rPr lang="en-US" dirty="0">
                <a:solidFill>
                  <a:srgbClr val="05BFD5"/>
                </a:solidFill>
                <a:hlinkClick r:id="rId8"/>
              </a:rPr>
              <a:t>esr.ucsd.edu/</a:t>
            </a:r>
            <a:r>
              <a:rPr lang="en-US" dirty="0" err="1">
                <a:solidFill>
                  <a:srgbClr val="05BFD5"/>
                </a:solidFill>
                <a:hlinkClick r:id="rId8"/>
              </a:rPr>
              <a:t>kuali</a:t>
            </a:r>
            <a:r>
              <a:rPr lang="en-US" dirty="0">
                <a:solidFill>
                  <a:srgbClr val="05BFD5"/>
                </a:solidFill>
                <a:hlinkClick r:id="rId8"/>
              </a:rPr>
              <a:t>-research</a:t>
            </a:r>
            <a:r>
              <a:rPr lang="en-US" dirty="0">
                <a:solidFill>
                  <a:srgbClr val="05BFD5"/>
                </a:solidFill>
              </a:rPr>
              <a:t> </a:t>
            </a:r>
          </a:p>
        </p:txBody>
      </p:sp>
      <p:sp>
        <p:nvSpPr>
          <p:cNvPr id="15" name="Rectangle 14"/>
          <p:cNvSpPr/>
          <p:nvPr/>
        </p:nvSpPr>
        <p:spPr>
          <a:xfrm>
            <a:off x="4822602" y="3187117"/>
            <a:ext cx="3110258" cy="646331"/>
          </a:xfrm>
          <a:prstGeom prst="rect">
            <a:avLst/>
          </a:prstGeom>
        </p:spPr>
        <p:txBody>
          <a:bodyPr wrap="square">
            <a:spAutoFit/>
          </a:bodyPr>
          <a:lstStyle/>
          <a:p>
            <a:pPr algn="ctr"/>
            <a:r>
              <a:rPr lang="en-US" dirty="0">
                <a:solidFill>
                  <a:srgbClr val="05BFD5"/>
                </a:solidFill>
              </a:rPr>
              <a:t>Connecting with members of the Change </a:t>
            </a:r>
            <a:r>
              <a:rPr lang="en-US" dirty="0" smtClean="0">
                <a:solidFill>
                  <a:srgbClr val="05BFD5"/>
                </a:solidFill>
              </a:rPr>
              <a:t>Network</a:t>
            </a:r>
            <a:endParaRPr lang="en-US" dirty="0">
              <a:solidFill>
                <a:srgbClr val="05BFD5"/>
              </a:solidFill>
            </a:endParaRPr>
          </a:p>
        </p:txBody>
      </p:sp>
      <p:sp>
        <p:nvSpPr>
          <p:cNvPr id="16" name="Rectangle 15"/>
          <p:cNvSpPr/>
          <p:nvPr/>
        </p:nvSpPr>
        <p:spPr>
          <a:xfrm>
            <a:off x="8999061" y="3203856"/>
            <a:ext cx="2100987" cy="646331"/>
          </a:xfrm>
          <a:prstGeom prst="rect">
            <a:avLst/>
          </a:prstGeom>
        </p:spPr>
        <p:txBody>
          <a:bodyPr wrap="square">
            <a:spAutoFit/>
          </a:bodyPr>
          <a:lstStyle/>
          <a:p>
            <a:pPr algn="ctr"/>
            <a:r>
              <a:rPr lang="en-US" dirty="0">
                <a:solidFill>
                  <a:srgbClr val="05BFD5"/>
                </a:solidFill>
              </a:rPr>
              <a:t>Subscribing to </a:t>
            </a:r>
            <a:r>
              <a:rPr lang="en-US" dirty="0" smtClean="0">
                <a:solidFill>
                  <a:srgbClr val="05BFD5"/>
                </a:solidFill>
              </a:rPr>
              <a:t>the KR </a:t>
            </a:r>
            <a:r>
              <a:rPr lang="en-US" dirty="0">
                <a:solidFill>
                  <a:srgbClr val="05BFD5"/>
                </a:solidFill>
              </a:rPr>
              <a:t>Newsletter </a:t>
            </a:r>
            <a:endParaRPr lang="en-US" dirty="0"/>
          </a:p>
        </p:txBody>
      </p:sp>
    </p:spTree>
    <p:extLst>
      <p:ext uri="{BB962C8B-B14F-4D97-AF65-F5344CB8AC3E}">
        <p14:creationId xmlns:p14="http://schemas.microsoft.com/office/powerpoint/2010/main" val="12671683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1763" y="1824373"/>
            <a:ext cx="10870163" cy="4623079"/>
            <a:chOff x="811763" y="1824373"/>
            <a:chExt cx="10870163" cy="4623079"/>
          </a:xfrm>
        </p:grpSpPr>
        <p:sp>
          <p:nvSpPr>
            <p:cNvPr id="4103" name="Freeform 7"/>
            <p:cNvSpPr>
              <a:spLocks/>
            </p:cNvSpPr>
            <p:nvPr/>
          </p:nvSpPr>
          <p:spPr bwMode="auto">
            <a:xfrm>
              <a:off x="811763" y="1824373"/>
              <a:ext cx="3622087" cy="4623079"/>
            </a:xfrm>
            <a:custGeom>
              <a:avLst/>
              <a:gdLst/>
              <a:ahLst/>
              <a:cxnLst>
                <a:cxn ang="0">
                  <a:pos x="1364" y="658"/>
                </a:cxn>
                <a:cxn ang="0">
                  <a:pos x="1406" y="664"/>
                </a:cxn>
                <a:cxn ang="0">
                  <a:pos x="1444" y="682"/>
                </a:cxn>
                <a:cxn ang="0">
                  <a:pos x="1478" y="706"/>
                </a:cxn>
                <a:cxn ang="0">
                  <a:pos x="1542" y="762"/>
                </a:cxn>
                <a:cxn ang="0">
                  <a:pos x="1576" y="788"/>
                </a:cxn>
                <a:cxn ang="0">
                  <a:pos x="1612" y="806"/>
                </a:cxn>
                <a:cxn ang="0">
                  <a:pos x="1654" y="812"/>
                </a:cxn>
                <a:cxn ang="0">
                  <a:pos x="1674" y="810"/>
                </a:cxn>
                <a:cxn ang="0">
                  <a:pos x="1712" y="802"/>
                </a:cxn>
                <a:cxn ang="0">
                  <a:pos x="1746" y="784"/>
                </a:cxn>
                <a:cxn ang="0">
                  <a:pos x="1776" y="758"/>
                </a:cxn>
                <a:cxn ang="0">
                  <a:pos x="1804" y="726"/>
                </a:cxn>
                <a:cxn ang="0">
                  <a:pos x="1826" y="688"/>
                </a:cxn>
                <a:cxn ang="0">
                  <a:pos x="1842" y="644"/>
                </a:cxn>
                <a:cxn ang="0">
                  <a:pos x="1854" y="596"/>
                </a:cxn>
                <a:cxn ang="0">
                  <a:pos x="1856" y="0"/>
                </a:cxn>
                <a:cxn ang="0">
                  <a:pos x="2" y="0"/>
                </a:cxn>
                <a:cxn ang="0">
                  <a:pos x="0" y="1856"/>
                </a:cxn>
                <a:cxn ang="0">
                  <a:pos x="1856" y="1284"/>
                </a:cxn>
                <a:cxn ang="0">
                  <a:pos x="1854" y="1258"/>
                </a:cxn>
                <a:cxn ang="0">
                  <a:pos x="1842" y="1212"/>
                </a:cxn>
                <a:cxn ang="0">
                  <a:pos x="1826" y="1168"/>
                </a:cxn>
                <a:cxn ang="0">
                  <a:pos x="1804" y="1130"/>
                </a:cxn>
                <a:cxn ang="0">
                  <a:pos x="1776" y="1098"/>
                </a:cxn>
                <a:cxn ang="0">
                  <a:pos x="1746" y="1072"/>
                </a:cxn>
                <a:cxn ang="0">
                  <a:pos x="1712" y="1054"/>
                </a:cxn>
                <a:cxn ang="0">
                  <a:pos x="1674" y="1046"/>
                </a:cxn>
                <a:cxn ang="0">
                  <a:pos x="1656" y="1044"/>
                </a:cxn>
                <a:cxn ang="0">
                  <a:pos x="1612" y="1050"/>
                </a:cxn>
                <a:cxn ang="0">
                  <a:pos x="1576" y="1068"/>
                </a:cxn>
                <a:cxn ang="0">
                  <a:pos x="1542" y="1092"/>
                </a:cxn>
                <a:cxn ang="0">
                  <a:pos x="1478" y="1150"/>
                </a:cxn>
                <a:cxn ang="0">
                  <a:pos x="1444" y="1174"/>
                </a:cxn>
                <a:cxn ang="0">
                  <a:pos x="1406" y="1192"/>
                </a:cxn>
                <a:cxn ang="0">
                  <a:pos x="1364" y="1198"/>
                </a:cxn>
                <a:cxn ang="0">
                  <a:pos x="1344" y="1198"/>
                </a:cxn>
                <a:cxn ang="0">
                  <a:pos x="1304" y="1186"/>
                </a:cxn>
                <a:cxn ang="0">
                  <a:pos x="1268" y="1166"/>
                </a:cxn>
                <a:cxn ang="0">
                  <a:pos x="1236" y="1136"/>
                </a:cxn>
                <a:cxn ang="0">
                  <a:pos x="1208" y="1100"/>
                </a:cxn>
                <a:cxn ang="0">
                  <a:pos x="1186" y="1056"/>
                </a:cxn>
                <a:cxn ang="0">
                  <a:pos x="1170" y="1008"/>
                </a:cxn>
                <a:cxn ang="0">
                  <a:pos x="1162" y="956"/>
                </a:cxn>
                <a:cxn ang="0">
                  <a:pos x="1162" y="928"/>
                </a:cxn>
                <a:cxn ang="0">
                  <a:pos x="1166" y="874"/>
                </a:cxn>
                <a:cxn ang="0">
                  <a:pos x="1178" y="822"/>
                </a:cxn>
                <a:cxn ang="0">
                  <a:pos x="1196" y="776"/>
                </a:cxn>
                <a:cxn ang="0">
                  <a:pos x="1222" y="736"/>
                </a:cxn>
                <a:cxn ang="0">
                  <a:pos x="1252" y="704"/>
                </a:cxn>
                <a:cxn ang="0">
                  <a:pos x="1286" y="678"/>
                </a:cxn>
                <a:cxn ang="0">
                  <a:pos x="1324" y="662"/>
                </a:cxn>
                <a:cxn ang="0">
                  <a:pos x="1364" y="658"/>
                </a:cxn>
              </a:cxnLst>
              <a:rect l="0" t="0" r="r" b="b"/>
              <a:pathLst>
                <a:path w="1856" h="1856">
                  <a:moveTo>
                    <a:pt x="1364" y="658"/>
                  </a:moveTo>
                  <a:lnTo>
                    <a:pt x="1364" y="658"/>
                  </a:lnTo>
                  <a:lnTo>
                    <a:pt x="1386" y="658"/>
                  </a:lnTo>
                  <a:lnTo>
                    <a:pt x="1406" y="664"/>
                  </a:lnTo>
                  <a:lnTo>
                    <a:pt x="1426" y="672"/>
                  </a:lnTo>
                  <a:lnTo>
                    <a:pt x="1444" y="682"/>
                  </a:lnTo>
                  <a:lnTo>
                    <a:pt x="1462" y="694"/>
                  </a:lnTo>
                  <a:lnTo>
                    <a:pt x="1478" y="706"/>
                  </a:lnTo>
                  <a:lnTo>
                    <a:pt x="1510" y="734"/>
                  </a:lnTo>
                  <a:lnTo>
                    <a:pt x="1542" y="762"/>
                  </a:lnTo>
                  <a:lnTo>
                    <a:pt x="1558" y="776"/>
                  </a:lnTo>
                  <a:lnTo>
                    <a:pt x="1576" y="788"/>
                  </a:lnTo>
                  <a:lnTo>
                    <a:pt x="1594" y="798"/>
                  </a:lnTo>
                  <a:lnTo>
                    <a:pt x="1612" y="806"/>
                  </a:lnTo>
                  <a:lnTo>
                    <a:pt x="1634" y="810"/>
                  </a:lnTo>
                  <a:lnTo>
                    <a:pt x="1654" y="812"/>
                  </a:lnTo>
                  <a:lnTo>
                    <a:pt x="1654" y="812"/>
                  </a:lnTo>
                  <a:lnTo>
                    <a:pt x="1674" y="810"/>
                  </a:lnTo>
                  <a:lnTo>
                    <a:pt x="1694" y="808"/>
                  </a:lnTo>
                  <a:lnTo>
                    <a:pt x="1712" y="802"/>
                  </a:lnTo>
                  <a:lnTo>
                    <a:pt x="1728" y="794"/>
                  </a:lnTo>
                  <a:lnTo>
                    <a:pt x="1746" y="784"/>
                  </a:lnTo>
                  <a:lnTo>
                    <a:pt x="1762" y="772"/>
                  </a:lnTo>
                  <a:lnTo>
                    <a:pt x="1776" y="758"/>
                  </a:lnTo>
                  <a:lnTo>
                    <a:pt x="1790" y="742"/>
                  </a:lnTo>
                  <a:lnTo>
                    <a:pt x="1804" y="726"/>
                  </a:lnTo>
                  <a:lnTo>
                    <a:pt x="1816" y="708"/>
                  </a:lnTo>
                  <a:lnTo>
                    <a:pt x="1826" y="688"/>
                  </a:lnTo>
                  <a:lnTo>
                    <a:pt x="1836" y="666"/>
                  </a:lnTo>
                  <a:lnTo>
                    <a:pt x="1842" y="644"/>
                  </a:lnTo>
                  <a:lnTo>
                    <a:pt x="1850" y="620"/>
                  </a:lnTo>
                  <a:lnTo>
                    <a:pt x="1854" y="596"/>
                  </a:lnTo>
                  <a:lnTo>
                    <a:pt x="1856" y="572"/>
                  </a:lnTo>
                  <a:lnTo>
                    <a:pt x="1856" y="0"/>
                  </a:lnTo>
                  <a:lnTo>
                    <a:pt x="2" y="0"/>
                  </a:lnTo>
                  <a:lnTo>
                    <a:pt x="2" y="0"/>
                  </a:lnTo>
                  <a:lnTo>
                    <a:pt x="0" y="0"/>
                  </a:lnTo>
                  <a:lnTo>
                    <a:pt x="0" y="1856"/>
                  </a:lnTo>
                  <a:lnTo>
                    <a:pt x="1856" y="1856"/>
                  </a:lnTo>
                  <a:lnTo>
                    <a:pt x="1856" y="1284"/>
                  </a:lnTo>
                  <a:lnTo>
                    <a:pt x="1856" y="1284"/>
                  </a:lnTo>
                  <a:lnTo>
                    <a:pt x="1854" y="1258"/>
                  </a:lnTo>
                  <a:lnTo>
                    <a:pt x="1850" y="1234"/>
                  </a:lnTo>
                  <a:lnTo>
                    <a:pt x="1842" y="1212"/>
                  </a:lnTo>
                  <a:lnTo>
                    <a:pt x="1836" y="1190"/>
                  </a:lnTo>
                  <a:lnTo>
                    <a:pt x="1826" y="1168"/>
                  </a:lnTo>
                  <a:lnTo>
                    <a:pt x="1816" y="1148"/>
                  </a:lnTo>
                  <a:lnTo>
                    <a:pt x="1804" y="1130"/>
                  </a:lnTo>
                  <a:lnTo>
                    <a:pt x="1790" y="1114"/>
                  </a:lnTo>
                  <a:lnTo>
                    <a:pt x="1776" y="1098"/>
                  </a:lnTo>
                  <a:lnTo>
                    <a:pt x="1762" y="1084"/>
                  </a:lnTo>
                  <a:lnTo>
                    <a:pt x="1746" y="1072"/>
                  </a:lnTo>
                  <a:lnTo>
                    <a:pt x="1728" y="1062"/>
                  </a:lnTo>
                  <a:lnTo>
                    <a:pt x="1712" y="1054"/>
                  </a:lnTo>
                  <a:lnTo>
                    <a:pt x="1694" y="1048"/>
                  </a:lnTo>
                  <a:lnTo>
                    <a:pt x="1674" y="1046"/>
                  </a:lnTo>
                  <a:lnTo>
                    <a:pt x="1656" y="1044"/>
                  </a:lnTo>
                  <a:lnTo>
                    <a:pt x="1656" y="1044"/>
                  </a:lnTo>
                  <a:lnTo>
                    <a:pt x="1634" y="1046"/>
                  </a:lnTo>
                  <a:lnTo>
                    <a:pt x="1612" y="1050"/>
                  </a:lnTo>
                  <a:lnTo>
                    <a:pt x="1594" y="1058"/>
                  </a:lnTo>
                  <a:lnTo>
                    <a:pt x="1576" y="1068"/>
                  </a:lnTo>
                  <a:lnTo>
                    <a:pt x="1558" y="1080"/>
                  </a:lnTo>
                  <a:lnTo>
                    <a:pt x="1542" y="1092"/>
                  </a:lnTo>
                  <a:lnTo>
                    <a:pt x="1510" y="1122"/>
                  </a:lnTo>
                  <a:lnTo>
                    <a:pt x="1478" y="1150"/>
                  </a:lnTo>
                  <a:lnTo>
                    <a:pt x="1462" y="1162"/>
                  </a:lnTo>
                  <a:lnTo>
                    <a:pt x="1444" y="1174"/>
                  </a:lnTo>
                  <a:lnTo>
                    <a:pt x="1426" y="1184"/>
                  </a:lnTo>
                  <a:lnTo>
                    <a:pt x="1406" y="1192"/>
                  </a:lnTo>
                  <a:lnTo>
                    <a:pt x="1386" y="1196"/>
                  </a:lnTo>
                  <a:lnTo>
                    <a:pt x="1364" y="1198"/>
                  </a:lnTo>
                  <a:lnTo>
                    <a:pt x="1364" y="1198"/>
                  </a:lnTo>
                  <a:lnTo>
                    <a:pt x="1344" y="1198"/>
                  </a:lnTo>
                  <a:lnTo>
                    <a:pt x="1324" y="1194"/>
                  </a:lnTo>
                  <a:lnTo>
                    <a:pt x="1304" y="1186"/>
                  </a:lnTo>
                  <a:lnTo>
                    <a:pt x="1286" y="1178"/>
                  </a:lnTo>
                  <a:lnTo>
                    <a:pt x="1268" y="1166"/>
                  </a:lnTo>
                  <a:lnTo>
                    <a:pt x="1252" y="1152"/>
                  </a:lnTo>
                  <a:lnTo>
                    <a:pt x="1236" y="1136"/>
                  </a:lnTo>
                  <a:lnTo>
                    <a:pt x="1222" y="1120"/>
                  </a:lnTo>
                  <a:lnTo>
                    <a:pt x="1208" y="1100"/>
                  </a:lnTo>
                  <a:lnTo>
                    <a:pt x="1196" y="1080"/>
                  </a:lnTo>
                  <a:lnTo>
                    <a:pt x="1186" y="1056"/>
                  </a:lnTo>
                  <a:lnTo>
                    <a:pt x="1178" y="1034"/>
                  </a:lnTo>
                  <a:lnTo>
                    <a:pt x="1170" y="1008"/>
                  </a:lnTo>
                  <a:lnTo>
                    <a:pt x="1166" y="982"/>
                  </a:lnTo>
                  <a:lnTo>
                    <a:pt x="1162" y="956"/>
                  </a:lnTo>
                  <a:lnTo>
                    <a:pt x="1162" y="928"/>
                  </a:lnTo>
                  <a:lnTo>
                    <a:pt x="1162" y="928"/>
                  </a:lnTo>
                  <a:lnTo>
                    <a:pt x="1162" y="900"/>
                  </a:lnTo>
                  <a:lnTo>
                    <a:pt x="1166" y="874"/>
                  </a:lnTo>
                  <a:lnTo>
                    <a:pt x="1170" y="848"/>
                  </a:lnTo>
                  <a:lnTo>
                    <a:pt x="1178" y="822"/>
                  </a:lnTo>
                  <a:lnTo>
                    <a:pt x="1186" y="798"/>
                  </a:lnTo>
                  <a:lnTo>
                    <a:pt x="1196" y="776"/>
                  </a:lnTo>
                  <a:lnTo>
                    <a:pt x="1208" y="756"/>
                  </a:lnTo>
                  <a:lnTo>
                    <a:pt x="1222" y="736"/>
                  </a:lnTo>
                  <a:lnTo>
                    <a:pt x="1236" y="718"/>
                  </a:lnTo>
                  <a:lnTo>
                    <a:pt x="1252" y="704"/>
                  </a:lnTo>
                  <a:lnTo>
                    <a:pt x="1268" y="690"/>
                  </a:lnTo>
                  <a:lnTo>
                    <a:pt x="1286" y="678"/>
                  </a:lnTo>
                  <a:lnTo>
                    <a:pt x="1304" y="670"/>
                  </a:lnTo>
                  <a:lnTo>
                    <a:pt x="1324" y="662"/>
                  </a:lnTo>
                  <a:lnTo>
                    <a:pt x="1344" y="658"/>
                  </a:lnTo>
                  <a:lnTo>
                    <a:pt x="1364" y="658"/>
                  </a:lnTo>
                  <a:lnTo>
                    <a:pt x="1364" y="658"/>
                  </a:lnTo>
                  <a:close/>
                </a:path>
              </a:pathLst>
            </a:custGeom>
            <a:solidFill>
              <a:schemeClr val="bg1">
                <a:lumMod val="85000"/>
              </a:schemeClr>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1" name="Freeform 5"/>
            <p:cNvSpPr>
              <a:spLocks/>
            </p:cNvSpPr>
            <p:nvPr/>
          </p:nvSpPr>
          <p:spPr bwMode="auto">
            <a:xfrm>
              <a:off x="3079470" y="1824373"/>
              <a:ext cx="6334749" cy="4623079"/>
            </a:xfrm>
            <a:custGeom>
              <a:avLst/>
              <a:gdLst/>
              <a:ahLst/>
              <a:cxnLst>
                <a:cxn ang="0">
                  <a:pos x="3002" y="664"/>
                </a:cxn>
                <a:cxn ang="0">
                  <a:pos x="2930" y="706"/>
                </a:cxn>
                <a:cxn ang="0">
                  <a:pos x="2832" y="788"/>
                </a:cxn>
                <a:cxn ang="0">
                  <a:pos x="2754" y="812"/>
                </a:cxn>
                <a:cxn ang="0">
                  <a:pos x="2696" y="802"/>
                </a:cxn>
                <a:cxn ang="0">
                  <a:pos x="2628" y="756"/>
                </a:cxn>
                <a:cxn ang="0">
                  <a:pos x="2580" y="680"/>
                </a:cxn>
                <a:cxn ang="0">
                  <a:pos x="2554" y="586"/>
                </a:cxn>
                <a:cxn ang="0">
                  <a:pos x="694" y="560"/>
                </a:cxn>
                <a:cxn ang="0">
                  <a:pos x="682" y="636"/>
                </a:cxn>
                <a:cxn ang="0">
                  <a:pos x="644" y="720"/>
                </a:cxn>
                <a:cxn ang="0">
                  <a:pos x="586" y="782"/>
                </a:cxn>
                <a:cxn ang="0">
                  <a:pos x="512" y="810"/>
                </a:cxn>
                <a:cxn ang="0">
                  <a:pos x="450" y="806"/>
                </a:cxn>
                <a:cxn ang="0">
                  <a:pos x="380" y="764"/>
                </a:cxn>
                <a:cxn ang="0">
                  <a:pos x="282" y="682"/>
                </a:cxn>
                <a:cxn ang="0">
                  <a:pos x="202" y="658"/>
                </a:cxn>
                <a:cxn ang="0">
                  <a:pos x="142" y="670"/>
                </a:cxn>
                <a:cxn ang="0">
                  <a:pos x="74" y="720"/>
                </a:cxn>
                <a:cxn ang="0">
                  <a:pos x="24" y="800"/>
                </a:cxn>
                <a:cxn ang="0">
                  <a:pos x="0" y="900"/>
                </a:cxn>
                <a:cxn ang="0">
                  <a:pos x="4" y="982"/>
                </a:cxn>
                <a:cxn ang="0">
                  <a:pos x="34" y="1080"/>
                </a:cxn>
                <a:cxn ang="0">
                  <a:pos x="88" y="1152"/>
                </a:cxn>
                <a:cxn ang="0">
                  <a:pos x="162" y="1194"/>
                </a:cxn>
                <a:cxn ang="0">
                  <a:pos x="224" y="1198"/>
                </a:cxn>
                <a:cxn ang="0">
                  <a:pos x="298" y="1162"/>
                </a:cxn>
                <a:cxn ang="0">
                  <a:pos x="396" y="1080"/>
                </a:cxn>
                <a:cxn ang="0">
                  <a:pos x="470" y="1046"/>
                </a:cxn>
                <a:cxn ang="0">
                  <a:pos x="532" y="1050"/>
                </a:cxn>
                <a:cxn ang="0">
                  <a:pos x="602" y="1086"/>
                </a:cxn>
                <a:cxn ang="0">
                  <a:pos x="656" y="1154"/>
                </a:cxn>
                <a:cxn ang="0">
                  <a:pos x="688" y="1246"/>
                </a:cxn>
                <a:cxn ang="0">
                  <a:pos x="2552" y="1856"/>
                </a:cxn>
                <a:cxn ang="0">
                  <a:pos x="2558" y="1246"/>
                </a:cxn>
                <a:cxn ang="0">
                  <a:pos x="2590" y="1156"/>
                </a:cxn>
                <a:cxn ang="0">
                  <a:pos x="2644" y="1088"/>
                </a:cxn>
                <a:cxn ang="0">
                  <a:pos x="2714" y="1050"/>
                </a:cxn>
                <a:cxn ang="0">
                  <a:pos x="2776" y="1046"/>
                </a:cxn>
                <a:cxn ang="0">
                  <a:pos x="2850" y="1080"/>
                </a:cxn>
                <a:cxn ang="0">
                  <a:pos x="2948" y="1162"/>
                </a:cxn>
                <a:cxn ang="0">
                  <a:pos x="3022" y="1198"/>
                </a:cxn>
                <a:cxn ang="0">
                  <a:pos x="3084" y="1194"/>
                </a:cxn>
                <a:cxn ang="0">
                  <a:pos x="3158" y="1152"/>
                </a:cxn>
                <a:cxn ang="0">
                  <a:pos x="3212" y="1080"/>
                </a:cxn>
                <a:cxn ang="0">
                  <a:pos x="3242" y="982"/>
                </a:cxn>
                <a:cxn ang="0">
                  <a:pos x="3246" y="900"/>
                </a:cxn>
                <a:cxn ang="0">
                  <a:pos x="3222" y="800"/>
                </a:cxn>
                <a:cxn ang="0">
                  <a:pos x="3172" y="720"/>
                </a:cxn>
                <a:cxn ang="0">
                  <a:pos x="3104" y="670"/>
                </a:cxn>
                <a:cxn ang="0">
                  <a:pos x="3044" y="658"/>
                </a:cxn>
              </a:cxnLst>
              <a:rect l="0" t="0" r="r" b="b"/>
              <a:pathLst>
                <a:path w="3246" h="1856">
                  <a:moveTo>
                    <a:pt x="3044" y="658"/>
                  </a:moveTo>
                  <a:lnTo>
                    <a:pt x="3044" y="658"/>
                  </a:lnTo>
                  <a:lnTo>
                    <a:pt x="3022" y="660"/>
                  </a:lnTo>
                  <a:lnTo>
                    <a:pt x="3002" y="664"/>
                  </a:lnTo>
                  <a:lnTo>
                    <a:pt x="2982" y="672"/>
                  </a:lnTo>
                  <a:lnTo>
                    <a:pt x="2964" y="682"/>
                  </a:lnTo>
                  <a:lnTo>
                    <a:pt x="2948" y="694"/>
                  </a:lnTo>
                  <a:lnTo>
                    <a:pt x="2930" y="706"/>
                  </a:lnTo>
                  <a:lnTo>
                    <a:pt x="2898" y="736"/>
                  </a:lnTo>
                  <a:lnTo>
                    <a:pt x="2866" y="764"/>
                  </a:lnTo>
                  <a:lnTo>
                    <a:pt x="2850" y="776"/>
                  </a:lnTo>
                  <a:lnTo>
                    <a:pt x="2832" y="788"/>
                  </a:lnTo>
                  <a:lnTo>
                    <a:pt x="2814" y="798"/>
                  </a:lnTo>
                  <a:lnTo>
                    <a:pt x="2796" y="806"/>
                  </a:lnTo>
                  <a:lnTo>
                    <a:pt x="2776" y="810"/>
                  </a:lnTo>
                  <a:lnTo>
                    <a:pt x="2754" y="812"/>
                  </a:lnTo>
                  <a:lnTo>
                    <a:pt x="2754" y="812"/>
                  </a:lnTo>
                  <a:lnTo>
                    <a:pt x="2734" y="812"/>
                  </a:lnTo>
                  <a:lnTo>
                    <a:pt x="2714" y="808"/>
                  </a:lnTo>
                  <a:lnTo>
                    <a:pt x="2696" y="802"/>
                  </a:lnTo>
                  <a:lnTo>
                    <a:pt x="2678" y="792"/>
                  </a:lnTo>
                  <a:lnTo>
                    <a:pt x="2660" y="782"/>
                  </a:lnTo>
                  <a:lnTo>
                    <a:pt x="2644" y="770"/>
                  </a:lnTo>
                  <a:lnTo>
                    <a:pt x="2628" y="756"/>
                  </a:lnTo>
                  <a:lnTo>
                    <a:pt x="2614" y="738"/>
                  </a:lnTo>
                  <a:lnTo>
                    <a:pt x="2602" y="722"/>
                  </a:lnTo>
                  <a:lnTo>
                    <a:pt x="2590" y="702"/>
                  </a:lnTo>
                  <a:lnTo>
                    <a:pt x="2580" y="680"/>
                  </a:lnTo>
                  <a:lnTo>
                    <a:pt x="2570" y="658"/>
                  </a:lnTo>
                  <a:lnTo>
                    <a:pt x="2564" y="636"/>
                  </a:lnTo>
                  <a:lnTo>
                    <a:pt x="2558" y="612"/>
                  </a:lnTo>
                  <a:lnTo>
                    <a:pt x="2554" y="586"/>
                  </a:lnTo>
                  <a:lnTo>
                    <a:pt x="2552" y="560"/>
                  </a:lnTo>
                  <a:lnTo>
                    <a:pt x="2552" y="0"/>
                  </a:lnTo>
                  <a:lnTo>
                    <a:pt x="694" y="0"/>
                  </a:lnTo>
                  <a:lnTo>
                    <a:pt x="694" y="560"/>
                  </a:lnTo>
                  <a:lnTo>
                    <a:pt x="694" y="560"/>
                  </a:lnTo>
                  <a:lnTo>
                    <a:pt x="692" y="586"/>
                  </a:lnTo>
                  <a:lnTo>
                    <a:pt x="688" y="610"/>
                  </a:lnTo>
                  <a:lnTo>
                    <a:pt x="682" y="636"/>
                  </a:lnTo>
                  <a:lnTo>
                    <a:pt x="676" y="658"/>
                  </a:lnTo>
                  <a:lnTo>
                    <a:pt x="666" y="680"/>
                  </a:lnTo>
                  <a:lnTo>
                    <a:pt x="656" y="702"/>
                  </a:lnTo>
                  <a:lnTo>
                    <a:pt x="644" y="720"/>
                  </a:lnTo>
                  <a:lnTo>
                    <a:pt x="632" y="738"/>
                  </a:lnTo>
                  <a:lnTo>
                    <a:pt x="618" y="756"/>
                  </a:lnTo>
                  <a:lnTo>
                    <a:pt x="602" y="770"/>
                  </a:lnTo>
                  <a:lnTo>
                    <a:pt x="586" y="782"/>
                  </a:lnTo>
                  <a:lnTo>
                    <a:pt x="568" y="792"/>
                  </a:lnTo>
                  <a:lnTo>
                    <a:pt x="550" y="802"/>
                  </a:lnTo>
                  <a:lnTo>
                    <a:pt x="532" y="808"/>
                  </a:lnTo>
                  <a:lnTo>
                    <a:pt x="512" y="810"/>
                  </a:lnTo>
                  <a:lnTo>
                    <a:pt x="492" y="812"/>
                  </a:lnTo>
                  <a:lnTo>
                    <a:pt x="492" y="812"/>
                  </a:lnTo>
                  <a:lnTo>
                    <a:pt x="470" y="810"/>
                  </a:lnTo>
                  <a:lnTo>
                    <a:pt x="450" y="806"/>
                  </a:lnTo>
                  <a:lnTo>
                    <a:pt x="432" y="798"/>
                  </a:lnTo>
                  <a:lnTo>
                    <a:pt x="414" y="788"/>
                  </a:lnTo>
                  <a:lnTo>
                    <a:pt x="396" y="776"/>
                  </a:lnTo>
                  <a:lnTo>
                    <a:pt x="380" y="764"/>
                  </a:lnTo>
                  <a:lnTo>
                    <a:pt x="348" y="734"/>
                  </a:lnTo>
                  <a:lnTo>
                    <a:pt x="316" y="706"/>
                  </a:lnTo>
                  <a:lnTo>
                    <a:pt x="298" y="694"/>
                  </a:lnTo>
                  <a:lnTo>
                    <a:pt x="282" y="682"/>
                  </a:lnTo>
                  <a:lnTo>
                    <a:pt x="264" y="672"/>
                  </a:lnTo>
                  <a:lnTo>
                    <a:pt x="244" y="664"/>
                  </a:lnTo>
                  <a:lnTo>
                    <a:pt x="224" y="660"/>
                  </a:lnTo>
                  <a:lnTo>
                    <a:pt x="202" y="658"/>
                  </a:lnTo>
                  <a:lnTo>
                    <a:pt x="202" y="658"/>
                  </a:lnTo>
                  <a:lnTo>
                    <a:pt x="182" y="660"/>
                  </a:lnTo>
                  <a:lnTo>
                    <a:pt x="162" y="664"/>
                  </a:lnTo>
                  <a:lnTo>
                    <a:pt x="142" y="670"/>
                  </a:lnTo>
                  <a:lnTo>
                    <a:pt x="124" y="678"/>
                  </a:lnTo>
                  <a:lnTo>
                    <a:pt x="106" y="690"/>
                  </a:lnTo>
                  <a:lnTo>
                    <a:pt x="88" y="704"/>
                  </a:lnTo>
                  <a:lnTo>
                    <a:pt x="74" y="720"/>
                  </a:lnTo>
                  <a:lnTo>
                    <a:pt x="58" y="736"/>
                  </a:lnTo>
                  <a:lnTo>
                    <a:pt x="46" y="756"/>
                  </a:lnTo>
                  <a:lnTo>
                    <a:pt x="34" y="776"/>
                  </a:lnTo>
                  <a:lnTo>
                    <a:pt x="24" y="800"/>
                  </a:lnTo>
                  <a:lnTo>
                    <a:pt x="16" y="822"/>
                  </a:lnTo>
                  <a:lnTo>
                    <a:pt x="8" y="848"/>
                  </a:lnTo>
                  <a:lnTo>
                    <a:pt x="4" y="874"/>
                  </a:lnTo>
                  <a:lnTo>
                    <a:pt x="0" y="900"/>
                  </a:lnTo>
                  <a:lnTo>
                    <a:pt x="0" y="928"/>
                  </a:lnTo>
                  <a:lnTo>
                    <a:pt x="0" y="928"/>
                  </a:lnTo>
                  <a:lnTo>
                    <a:pt x="0" y="956"/>
                  </a:lnTo>
                  <a:lnTo>
                    <a:pt x="4" y="982"/>
                  </a:lnTo>
                  <a:lnTo>
                    <a:pt x="8" y="1008"/>
                  </a:lnTo>
                  <a:lnTo>
                    <a:pt x="16" y="1034"/>
                  </a:lnTo>
                  <a:lnTo>
                    <a:pt x="24" y="1058"/>
                  </a:lnTo>
                  <a:lnTo>
                    <a:pt x="34" y="1080"/>
                  </a:lnTo>
                  <a:lnTo>
                    <a:pt x="46" y="1100"/>
                  </a:lnTo>
                  <a:lnTo>
                    <a:pt x="58" y="1120"/>
                  </a:lnTo>
                  <a:lnTo>
                    <a:pt x="74" y="1138"/>
                  </a:lnTo>
                  <a:lnTo>
                    <a:pt x="88" y="1152"/>
                  </a:lnTo>
                  <a:lnTo>
                    <a:pt x="106" y="1166"/>
                  </a:lnTo>
                  <a:lnTo>
                    <a:pt x="124" y="1178"/>
                  </a:lnTo>
                  <a:lnTo>
                    <a:pt x="142" y="1186"/>
                  </a:lnTo>
                  <a:lnTo>
                    <a:pt x="162" y="1194"/>
                  </a:lnTo>
                  <a:lnTo>
                    <a:pt x="182" y="1198"/>
                  </a:lnTo>
                  <a:lnTo>
                    <a:pt x="202" y="1198"/>
                  </a:lnTo>
                  <a:lnTo>
                    <a:pt x="202" y="1198"/>
                  </a:lnTo>
                  <a:lnTo>
                    <a:pt x="224" y="1198"/>
                  </a:lnTo>
                  <a:lnTo>
                    <a:pt x="244" y="1192"/>
                  </a:lnTo>
                  <a:lnTo>
                    <a:pt x="264" y="1184"/>
                  </a:lnTo>
                  <a:lnTo>
                    <a:pt x="282" y="1174"/>
                  </a:lnTo>
                  <a:lnTo>
                    <a:pt x="298" y="1162"/>
                  </a:lnTo>
                  <a:lnTo>
                    <a:pt x="316" y="1150"/>
                  </a:lnTo>
                  <a:lnTo>
                    <a:pt x="348" y="1122"/>
                  </a:lnTo>
                  <a:lnTo>
                    <a:pt x="380" y="1094"/>
                  </a:lnTo>
                  <a:lnTo>
                    <a:pt x="396" y="1080"/>
                  </a:lnTo>
                  <a:lnTo>
                    <a:pt x="414" y="1068"/>
                  </a:lnTo>
                  <a:lnTo>
                    <a:pt x="432" y="1058"/>
                  </a:lnTo>
                  <a:lnTo>
                    <a:pt x="450" y="1050"/>
                  </a:lnTo>
                  <a:lnTo>
                    <a:pt x="470" y="1046"/>
                  </a:lnTo>
                  <a:lnTo>
                    <a:pt x="492" y="1044"/>
                  </a:lnTo>
                  <a:lnTo>
                    <a:pt x="492" y="1044"/>
                  </a:lnTo>
                  <a:lnTo>
                    <a:pt x="512" y="1046"/>
                  </a:lnTo>
                  <a:lnTo>
                    <a:pt x="532" y="1050"/>
                  </a:lnTo>
                  <a:lnTo>
                    <a:pt x="550" y="1056"/>
                  </a:lnTo>
                  <a:lnTo>
                    <a:pt x="568" y="1064"/>
                  </a:lnTo>
                  <a:lnTo>
                    <a:pt x="586" y="1074"/>
                  </a:lnTo>
                  <a:lnTo>
                    <a:pt x="602" y="1086"/>
                  </a:lnTo>
                  <a:lnTo>
                    <a:pt x="618" y="1102"/>
                  </a:lnTo>
                  <a:lnTo>
                    <a:pt x="632" y="1118"/>
                  </a:lnTo>
                  <a:lnTo>
                    <a:pt x="644" y="1136"/>
                  </a:lnTo>
                  <a:lnTo>
                    <a:pt x="656" y="1154"/>
                  </a:lnTo>
                  <a:lnTo>
                    <a:pt x="666" y="1176"/>
                  </a:lnTo>
                  <a:lnTo>
                    <a:pt x="676" y="1198"/>
                  </a:lnTo>
                  <a:lnTo>
                    <a:pt x="682" y="1220"/>
                  </a:lnTo>
                  <a:lnTo>
                    <a:pt x="688" y="1246"/>
                  </a:lnTo>
                  <a:lnTo>
                    <a:pt x="692" y="1270"/>
                  </a:lnTo>
                  <a:lnTo>
                    <a:pt x="694" y="1296"/>
                  </a:lnTo>
                  <a:lnTo>
                    <a:pt x="694" y="1856"/>
                  </a:lnTo>
                  <a:lnTo>
                    <a:pt x="2552" y="1856"/>
                  </a:lnTo>
                  <a:lnTo>
                    <a:pt x="2552" y="1298"/>
                  </a:lnTo>
                  <a:lnTo>
                    <a:pt x="2552" y="1298"/>
                  </a:lnTo>
                  <a:lnTo>
                    <a:pt x="2554" y="1272"/>
                  </a:lnTo>
                  <a:lnTo>
                    <a:pt x="2558" y="1246"/>
                  </a:lnTo>
                  <a:lnTo>
                    <a:pt x="2564" y="1222"/>
                  </a:lnTo>
                  <a:lnTo>
                    <a:pt x="2570" y="1198"/>
                  </a:lnTo>
                  <a:lnTo>
                    <a:pt x="2580" y="1176"/>
                  </a:lnTo>
                  <a:lnTo>
                    <a:pt x="2590" y="1156"/>
                  </a:lnTo>
                  <a:lnTo>
                    <a:pt x="2602" y="1136"/>
                  </a:lnTo>
                  <a:lnTo>
                    <a:pt x="2614" y="1118"/>
                  </a:lnTo>
                  <a:lnTo>
                    <a:pt x="2628" y="1102"/>
                  </a:lnTo>
                  <a:lnTo>
                    <a:pt x="2644" y="1088"/>
                  </a:lnTo>
                  <a:lnTo>
                    <a:pt x="2660" y="1074"/>
                  </a:lnTo>
                  <a:lnTo>
                    <a:pt x="2678" y="1064"/>
                  </a:lnTo>
                  <a:lnTo>
                    <a:pt x="2696" y="1056"/>
                  </a:lnTo>
                  <a:lnTo>
                    <a:pt x="2714" y="1050"/>
                  </a:lnTo>
                  <a:lnTo>
                    <a:pt x="2734" y="1046"/>
                  </a:lnTo>
                  <a:lnTo>
                    <a:pt x="2754" y="1044"/>
                  </a:lnTo>
                  <a:lnTo>
                    <a:pt x="2754" y="1044"/>
                  </a:lnTo>
                  <a:lnTo>
                    <a:pt x="2776" y="1046"/>
                  </a:lnTo>
                  <a:lnTo>
                    <a:pt x="2796" y="1050"/>
                  </a:lnTo>
                  <a:lnTo>
                    <a:pt x="2814" y="1058"/>
                  </a:lnTo>
                  <a:lnTo>
                    <a:pt x="2832" y="1068"/>
                  </a:lnTo>
                  <a:lnTo>
                    <a:pt x="2850" y="1080"/>
                  </a:lnTo>
                  <a:lnTo>
                    <a:pt x="2866" y="1094"/>
                  </a:lnTo>
                  <a:lnTo>
                    <a:pt x="2898" y="1122"/>
                  </a:lnTo>
                  <a:lnTo>
                    <a:pt x="2930" y="1150"/>
                  </a:lnTo>
                  <a:lnTo>
                    <a:pt x="2948" y="1162"/>
                  </a:lnTo>
                  <a:lnTo>
                    <a:pt x="2964" y="1174"/>
                  </a:lnTo>
                  <a:lnTo>
                    <a:pt x="2982" y="1184"/>
                  </a:lnTo>
                  <a:lnTo>
                    <a:pt x="3002" y="1192"/>
                  </a:lnTo>
                  <a:lnTo>
                    <a:pt x="3022" y="1198"/>
                  </a:lnTo>
                  <a:lnTo>
                    <a:pt x="3044" y="1198"/>
                  </a:lnTo>
                  <a:lnTo>
                    <a:pt x="3044" y="1198"/>
                  </a:lnTo>
                  <a:lnTo>
                    <a:pt x="3064" y="1198"/>
                  </a:lnTo>
                  <a:lnTo>
                    <a:pt x="3084" y="1194"/>
                  </a:lnTo>
                  <a:lnTo>
                    <a:pt x="3104" y="1186"/>
                  </a:lnTo>
                  <a:lnTo>
                    <a:pt x="3122" y="1178"/>
                  </a:lnTo>
                  <a:lnTo>
                    <a:pt x="3140" y="1166"/>
                  </a:lnTo>
                  <a:lnTo>
                    <a:pt x="3158" y="1152"/>
                  </a:lnTo>
                  <a:lnTo>
                    <a:pt x="3172" y="1138"/>
                  </a:lnTo>
                  <a:lnTo>
                    <a:pt x="3188" y="1120"/>
                  </a:lnTo>
                  <a:lnTo>
                    <a:pt x="3200" y="1100"/>
                  </a:lnTo>
                  <a:lnTo>
                    <a:pt x="3212" y="1080"/>
                  </a:lnTo>
                  <a:lnTo>
                    <a:pt x="3222" y="1058"/>
                  </a:lnTo>
                  <a:lnTo>
                    <a:pt x="3230" y="1034"/>
                  </a:lnTo>
                  <a:lnTo>
                    <a:pt x="3238" y="1008"/>
                  </a:lnTo>
                  <a:lnTo>
                    <a:pt x="3242" y="982"/>
                  </a:lnTo>
                  <a:lnTo>
                    <a:pt x="3246" y="956"/>
                  </a:lnTo>
                  <a:lnTo>
                    <a:pt x="3246" y="928"/>
                  </a:lnTo>
                  <a:lnTo>
                    <a:pt x="3246" y="928"/>
                  </a:lnTo>
                  <a:lnTo>
                    <a:pt x="3246" y="900"/>
                  </a:lnTo>
                  <a:lnTo>
                    <a:pt x="3242" y="874"/>
                  </a:lnTo>
                  <a:lnTo>
                    <a:pt x="3238" y="848"/>
                  </a:lnTo>
                  <a:lnTo>
                    <a:pt x="3230" y="822"/>
                  </a:lnTo>
                  <a:lnTo>
                    <a:pt x="3222" y="800"/>
                  </a:lnTo>
                  <a:lnTo>
                    <a:pt x="3212" y="778"/>
                  </a:lnTo>
                  <a:lnTo>
                    <a:pt x="3200" y="756"/>
                  </a:lnTo>
                  <a:lnTo>
                    <a:pt x="3188" y="736"/>
                  </a:lnTo>
                  <a:lnTo>
                    <a:pt x="3172" y="720"/>
                  </a:lnTo>
                  <a:lnTo>
                    <a:pt x="3158" y="704"/>
                  </a:lnTo>
                  <a:lnTo>
                    <a:pt x="3140" y="690"/>
                  </a:lnTo>
                  <a:lnTo>
                    <a:pt x="3122" y="678"/>
                  </a:lnTo>
                  <a:lnTo>
                    <a:pt x="3104" y="670"/>
                  </a:lnTo>
                  <a:lnTo>
                    <a:pt x="3084" y="664"/>
                  </a:lnTo>
                  <a:lnTo>
                    <a:pt x="3064" y="660"/>
                  </a:lnTo>
                  <a:lnTo>
                    <a:pt x="3044" y="658"/>
                  </a:lnTo>
                  <a:lnTo>
                    <a:pt x="3044" y="658"/>
                  </a:lnTo>
                  <a:close/>
                </a:path>
              </a:pathLst>
            </a:custGeom>
            <a:solidFill>
              <a:schemeClr val="bg1">
                <a:lumMod val="85000"/>
              </a:schemeClr>
            </a:solidFill>
            <a:ln w="12700">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extrusionClr>
                <a:schemeClr val="tx2">
                  <a:lumMod val="60000"/>
                  <a:lumOff val="40000"/>
                </a:schemeClr>
              </a:extrusionClr>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2" name="Freeform 6"/>
            <p:cNvSpPr>
              <a:spLocks/>
            </p:cNvSpPr>
            <p:nvPr/>
          </p:nvSpPr>
          <p:spPr bwMode="auto">
            <a:xfrm>
              <a:off x="8059839" y="1824373"/>
              <a:ext cx="3622087" cy="4623079"/>
            </a:xfrm>
            <a:custGeom>
              <a:avLst/>
              <a:gdLst/>
              <a:ahLst/>
              <a:cxnLst>
                <a:cxn ang="0">
                  <a:pos x="1856" y="0"/>
                </a:cxn>
                <a:cxn ang="0">
                  <a:pos x="0" y="572"/>
                </a:cxn>
                <a:cxn ang="0">
                  <a:pos x="2" y="596"/>
                </a:cxn>
                <a:cxn ang="0">
                  <a:pos x="14" y="644"/>
                </a:cxn>
                <a:cxn ang="0">
                  <a:pos x="30" y="688"/>
                </a:cxn>
                <a:cxn ang="0">
                  <a:pos x="52" y="726"/>
                </a:cxn>
                <a:cxn ang="0">
                  <a:pos x="80" y="758"/>
                </a:cxn>
                <a:cxn ang="0">
                  <a:pos x="110" y="784"/>
                </a:cxn>
                <a:cxn ang="0">
                  <a:pos x="144" y="802"/>
                </a:cxn>
                <a:cxn ang="0">
                  <a:pos x="182" y="810"/>
                </a:cxn>
                <a:cxn ang="0">
                  <a:pos x="202" y="812"/>
                </a:cxn>
                <a:cxn ang="0">
                  <a:pos x="244" y="806"/>
                </a:cxn>
                <a:cxn ang="0">
                  <a:pos x="280" y="788"/>
                </a:cxn>
                <a:cxn ang="0">
                  <a:pos x="314" y="762"/>
                </a:cxn>
                <a:cxn ang="0">
                  <a:pos x="378" y="706"/>
                </a:cxn>
                <a:cxn ang="0">
                  <a:pos x="412" y="682"/>
                </a:cxn>
                <a:cxn ang="0">
                  <a:pos x="450" y="664"/>
                </a:cxn>
                <a:cxn ang="0">
                  <a:pos x="492" y="658"/>
                </a:cxn>
                <a:cxn ang="0">
                  <a:pos x="512" y="658"/>
                </a:cxn>
                <a:cxn ang="0">
                  <a:pos x="552" y="670"/>
                </a:cxn>
                <a:cxn ang="0">
                  <a:pos x="588" y="690"/>
                </a:cxn>
                <a:cxn ang="0">
                  <a:pos x="620" y="718"/>
                </a:cxn>
                <a:cxn ang="0">
                  <a:pos x="648" y="756"/>
                </a:cxn>
                <a:cxn ang="0">
                  <a:pos x="670" y="798"/>
                </a:cxn>
                <a:cxn ang="0">
                  <a:pos x="686" y="848"/>
                </a:cxn>
                <a:cxn ang="0">
                  <a:pos x="694" y="900"/>
                </a:cxn>
                <a:cxn ang="0">
                  <a:pos x="694" y="928"/>
                </a:cxn>
                <a:cxn ang="0">
                  <a:pos x="690" y="982"/>
                </a:cxn>
                <a:cxn ang="0">
                  <a:pos x="678" y="1034"/>
                </a:cxn>
                <a:cxn ang="0">
                  <a:pos x="660" y="1080"/>
                </a:cxn>
                <a:cxn ang="0">
                  <a:pos x="634" y="1120"/>
                </a:cxn>
                <a:cxn ang="0">
                  <a:pos x="604" y="1152"/>
                </a:cxn>
                <a:cxn ang="0">
                  <a:pos x="570" y="1178"/>
                </a:cxn>
                <a:cxn ang="0">
                  <a:pos x="532" y="1194"/>
                </a:cxn>
                <a:cxn ang="0">
                  <a:pos x="492" y="1198"/>
                </a:cxn>
                <a:cxn ang="0">
                  <a:pos x="470" y="1196"/>
                </a:cxn>
                <a:cxn ang="0">
                  <a:pos x="430" y="1184"/>
                </a:cxn>
                <a:cxn ang="0">
                  <a:pos x="394" y="1162"/>
                </a:cxn>
                <a:cxn ang="0">
                  <a:pos x="346" y="1122"/>
                </a:cxn>
                <a:cxn ang="0">
                  <a:pos x="298" y="1080"/>
                </a:cxn>
                <a:cxn ang="0">
                  <a:pos x="262" y="1058"/>
                </a:cxn>
                <a:cxn ang="0">
                  <a:pos x="222" y="1046"/>
                </a:cxn>
                <a:cxn ang="0">
                  <a:pos x="200" y="1044"/>
                </a:cxn>
                <a:cxn ang="0">
                  <a:pos x="162" y="1048"/>
                </a:cxn>
                <a:cxn ang="0">
                  <a:pos x="128" y="1062"/>
                </a:cxn>
                <a:cxn ang="0">
                  <a:pos x="94" y="1084"/>
                </a:cxn>
                <a:cxn ang="0">
                  <a:pos x="66" y="1114"/>
                </a:cxn>
                <a:cxn ang="0">
                  <a:pos x="40" y="1148"/>
                </a:cxn>
                <a:cxn ang="0">
                  <a:pos x="20" y="1190"/>
                </a:cxn>
                <a:cxn ang="0">
                  <a:pos x="6" y="1234"/>
                </a:cxn>
                <a:cxn ang="0">
                  <a:pos x="0" y="1284"/>
                </a:cxn>
                <a:cxn ang="0">
                  <a:pos x="1856" y="1856"/>
                </a:cxn>
                <a:cxn ang="0">
                  <a:pos x="1856" y="0"/>
                </a:cxn>
              </a:cxnLst>
              <a:rect l="0" t="0" r="r" b="b"/>
              <a:pathLst>
                <a:path w="1856" h="1856">
                  <a:moveTo>
                    <a:pt x="1856" y="0"/>
                  </a:moveTo>
                  <a:lnTo>
                    <a:pt x="1856" y="0"/>
                  </a:lnTo>
                  <a:lnTo>
                    <a:pt x="0" y="0"/>
                  </a:lnTo>
                  <a:lnTo>
                    <a:pt x="0" y="572"/>
                  </a:lnTo>
                  <a:lnTo>
                    <a:pt x="0" y="572"/>
                  </a:lnTo>
                  <a:lnTo>
                    <a:pt x="2" y="596"/>
                  </a:lnTo>
                  <a:lnTo>
                    <a:pt x="6" y="620"/>
                  </a:lnTo>
                  <a:lnTo>
                    <a:pt x="14" y="644"/>
                  </a:lnTo>
                  <a:lnTo>
                    <a:pt x="20" y="666"/>
                  </a:lnTo>
                  <a:lnTo>
                    <a:pt x="30" y="688"/>
                  </a:lnTo>
                  <a:lnTo>
                    <a:pt x="40" y="708"/>
                  </a:lnTo>
                  <a:lnTo>
                    <a:pt x="52" y="726"/>
                  </a:lnTo>
                  <a:lnTo>
                    <a:pt x="66" y="742"/>
                  </a:lnTo>
                  <a:lnTo>
                    <a:pt x="80" y="758"/>
                  </a:lnTo>
                  <a:lnTo>
                    <a:pt x="94" y="772"/>
                  </a:lnTo>
                  <a:lnTo>
                    <a:pt x="110" y="784"/>
                  </a:lnTo>
                  <a:lnTo>
                    <a:pt x="128" y="794"/>
                  </a:lnTo>
                  <a:lnTo>
                    <a:pt x="144" y="802"/>
                  </a:lnTo>
                  <a:lnTo>
                    <a:pt x="162" y="808"/>
                  </a:lnTo>
                  <a:lnTo>
                    <a:pt x="182" y="810"/>
                  </a:lnTo>
                  <a:lnTo>
                    <a:pt x="202" y="812"/>
                  </a:lnTo>
                  <a:lnTo>
                    <a:pt x="202" y="812"/>
                  </a:lnTo>
                  <a:lnTo>
                    <a:pt x="222" y="810"/>
                  </a:lnTo>
                  <a:lnTo>
                    <a:pt x="244" y="806"/>
                  </a:lnTo>
                  <a:lnTo>
                    <a:pt x="262" y="798"/>
                  </a:lnTo>
                  <a:lnTo>
                    <a:pt x="280" y="788"/>
                  </a:lnTo>
                  <a:lnTo>
                    <a:pt x="298" y="776"/>
                  </a:lnTo>
                  <a:lnTo>
                    <a:pt x="314" y="762"/>
                  </a:lnTo>
                  <a:lnTo>
                    <a:pt x="346" y="734"/>
                  </a:lnTo>
                  <a:lnTo>
                    <a:pt x="378" y="706"/>
                  </a:lnTo>
                  <a:lnTo>
                    <a:pt x="394" y="694"/>
                  </a:lnTo>
                  <a:lnTo>
                    <a:pt x="412" y="682"/>
                  </a:lnTo>
                  <a:lnTo>
                    <a:pt x="430" y="672"/>
                  </a:lnTo>
                  <a:lnTo>
                    <a:pt x="450" y="664"/>
                  </a:lnTo>
                  <a:lnTo>
                    <a:pt x="470" y="658"/>
                  </a:lnTo>
                  <a:lnTo>
                    <a:pt x="492" y="658"/>
                  </a:lnTo>
                  <a:lnTo>
                    <a:pt x="492" y="658"/>
                  </a:lnTo>
                  <a:lnTo>
                    <a:pt x="512" y="658"/>
                  </a:lnTo>
                  <a:lnTo>
                    <a:pt x="532" y="662"/>
                  </a:lnTo>
                  <a:lnTo>
                    <a:pt x="552" y="670"/>
                  </a:lnTo>
                  <a:lnTo>
                    <a:pt x="570" y="678"/>
                  </a:lnTo>
                  <a:lnTo>
                    <a:pt x="588" y="690"/>
                  </a:lnTo>
                  <a:lnTo>
                    <a:pt x="604" y="704"/>
                  </a:lnTo>
                  <a:lnTo>
                    <a:pt x="620" y="718"/>
                  </a:lnTo>
                  <a:lnTo>
                    <a:pt x="634" y="736"/>
                  </a:lnTo>
                  <a:lnTo>
                    <a:pt x="648" y="756"/>
                  </a:lnTo>
                  <a:lnTo>
                    <a:pt x="660" y="776"/>
                  </a:lnTo>
                  <a:lnTo>
                    <a:pt x="670" y="798"/>
                  </a:lnTo>
                  <a:lnTo>
                    <a:pt x="678" y="822"/>
                  </a:lnTo>
                  <a:lnTo>
                    <a:pt x="686" y="848"/>
                  </a:lnTo>
                  <a:lnTo>
                    <a:pt x="690" y="874"/>
                  </a:lnTo>
                  <a:lnTo>
                    <a:pt x="694" y="900"/>
                  </a:lnTo>
                  <a:lnTo>
                    <a:pt x="694" y="928"/>
                  </a:lnTo>
                  <a:lnTo>
                    <a:pt x="694" y="928"/>
                  </a:lnTo>
                  <a:lnTo>
                    <a:pt x="694" y="956"/>
                  </a:lnTo>
                  <a:lnTo>
                    <a:pt x="690" y="982"/>
                  </a:lnTo>
                  <a:lnTo>
                    <a:pt x="686" y="1008"/>
                  </a:lnTo>
                  <a:lnTo>
                    <a:pt x="678" y="1034"/>
                  </a:lnTo>
                  <a:lnTo>
                    <a:pt x="670" y="1056"/>
                  </a:lnTo>
                  <a:lnTo>
                    <a:pt x="660" y="1080"/>
                  </a:lnTo>
                  <a:lnTo>
                    <a:pt x="648" y="1100"/>
                  </a:lnTo>
                  <a:lnTo>
                    <a:pt x="634" y="1120"/>
                  </a:lnTo>
                  <a:lnTo>
                    <a:pt x="620" y="1136"/>
                  </a:lnTo>
                  <a:lnTo>
                    <a:pt x="604" y="1152"/>
                  </a:lnTo>
                  <a:lnTo>
                    <a:pt x="588" y="1166"/>
                  </a:lnTo>
                  <a:lnTo>
                    <a:pt x="570" y="1178"/>
                  </a:lnTo>
                  <a:lnTo>
                    <a:pt x="552" y="1186"/>
                  </a:lnTo>
                  <a:lnTo>
                    <a:pt x="532" y="1194"/>
                  </a:lnTo>
                  <a:lnTo>
                    <a:pt x="512" y="1198"/>
                  </a:lnTo>
                  <a:lnTo>
                    <a:pt x="492" y="1198"/>
                  </a:lnTo>
                  <a:lnTo>
                    <a:pt x="492" y="1198"/>
                  </a:lnTo>
                  <a:lnTo>
                    <a:pt x="470" y="1196"/>
                  </a:lnTo>
                  <a:lnTo>
                    <a:pt x="450" y="1192"/>
                  </a:lnTo>
                  <a:lnTo>
                    <a:pt x="430" y="1184"/>
                  </a:lnTo>
                  <a:lnTo>
                    <a:pt x="412" y="1174"/>
                  </a:lnTo>
                  <a:lnTo>
                    <a:pt x="394" y="1162"/>
                  </a:lnTo>
                  <a:lnTo>
                    <a:pt x="378" y="1150"/>
                  </a:lnTo>
                  <a:lnTo>
                    <a:pt x="346" y="1122"/>
                  </a:lnTo>
                  <a:lnTo>
                    <a:pt x="314" y="1092"/>
                  </a:lnTo>
                  <a:lnTo>
                    <a:pt x="298" y="1080"/>
                  </a:lnTo>
                  <a:lnTo>
                    <a:pt x="280" y="1068"/>
                  </a:lnTo>
                  <a:lnTo>
                    <a:pt x="262" y="1058"/>
                  </a:lnTo>
                  <a:lnTo>
                    <a:pt x="244" y="1050"/>
                  </a:lnTo>
                  <a:lnTo>
                    <a:pt x="222" y="1046"/>
                  </a:lnTo>
                  <a:lnTo>
                    <a:pt x="200" y="1044"/>
                  </a:lnTo>
                  <a:lnTo>
                    <a:pt x="200" y="1044"/>
                  </a:lnTo>
                  <a:lnTo>
                    <a:pt x="182" y="1046"/>
                  </a:lnTo>
                  <a:lnTo>
                    <a:pt x="162" y="1048"/>
                  </a:lnTo>
                  <a:lnTo>
                    <a:pt x="144" y="1054"/>
                  </a:lnTo>
                  <a:lnTo>
                    <a:pt x="128" y="1062"/>
                  </a:lnTo>
                  <a:lnTo>
                    <a:pt x="110" y="1072"/>
                  </a:lnTo>
                  <a:lnTo>
                    <a:pt x="94" y="1084"/>
                  </a:lnTo>
                  <a:lnTo>
                    <a:pt x="80" y="1098"/>
                  </a:lnTo>
                  <a:lnTo>
                    <a:pt x="66" y="1114"/>
                  </a:lnTo>
                  <a:lnTo>
                    <a:pt x="52" y="1130"/>
                  </a:lnTo>
                  <a:lnTo>
                    <a:pt x="40" y="1148"/>
                  </a:lnTo>
                  <a:lnTo>
                    <a:pt x="30" y="1168"/>
                  </a:lnTo>
                  <a:lnTo>
                    <a:pt x="20" y="1190"/>
                  </a:lnTo>
                  <a:lnTo>
                    <a:pt x="14" y="1212"/>
                  </a:lnTo>
                  <a:lnTo>
                    <a:pt x="6" y="1234"/>
                  </a:lnTo>
                  <a:lnTo>
                    <a:pt x="2" y="1258"/>
                  </a:lnTo>
                  <a:lnTo>
                    <a:pt x="0" y="1284"/>
                  </a:lnTo>
                  <a:lnTo>
                    <a:pt x="0" y="1856"/>
                  </a:lnTo>
                  <a:lnTo>
                    <a:pt x="1856" y="1856"/>
                  </a:lnTo>
                  <a:lnTo>
                    <a:pt x="1856" y="0"/>
                  </a:lnTo>
                  <a:lnTo>
                    <a:pt x="1856" y="0"/>
                  </a:lnTo>
                  <a:close/>
                </a:path>
              </a:pathLst>
            </a:custGeom>
            <a:solidFill>
              <a:srgbClr val="3C89CF"/>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grpSp>
      <p:sp>
        <p:nvSpPr>
          <p:cNvPr id="12" name="TextBox 11"/>
          <p:cNvSpPr txBox="1"/>
          <p:nvPr/>
        </p:nvSpPr>
        <p:spPr>
          <a:xfrm>
            <a:off x="918460" y="2168613"/>
            <a:ext cx="3343311" cy="2276008"/>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bg1">
                    <a:lumMod val="65000"/>
                  </a:schemeClr>
                </a:solidFill>
                <a:latin typeface="Calibri" panose="020F0502020204030204" pitchFamily="34" charset="0"/>
                <a:cs typeface="Calibri" panose="020F0502020204030204" pitchFamily="34" charset="0"/>
              </a:rPr>
              <a:t>Kuali</a:t>
            </a:r>
            <a:r>
              <a:rPr lang="en-US" sz="2800" b="1" dirty="0">
                <a:solidFill>
                  <a:schemeClr val="bg1">
                    <a:lumMod val="65000"/>
                  </a:schemeClr>
                </a:solidFill>
                <a:latin typeface="Calibri" panose="020F0502020204030204" pitchFamily="34" charset="0"/>
                <a:cs typeface="Calibri" panose="020F0502020204030204" pitchFamily="34" charset="0"/>
              </a:rPr>
              <a:t> COI </a:t>
            </a:r>
          </a:p>
          <a:p>
            <a:pPr algn="ctr" eaLnBrk="0" fontAlgn="base" hangingPunct="0">
              <a:lnSpc>
                <a:spcPct val="85000"/>
              </a:lnSpc>
              <a:spcBef>
                <a:spcPct val="0"/>
              </a:spcBef>
              <a:spcAft>
                <a:spcPct val="0"/>
              </a:spcAft>
            </a:pPr>
            <a:r>
              <a:rPr lang="en-US" sz="1600" dirty="0">
                <a:solidFill>
                  <a:schemeClr val="bg1">
                    <a:lumMod val="65000"/>
                  </a:schemeClr>
                </a:solidFill>
                <a:latin typeface="Calibri" panose="020F0502020204030204" pitchFamily="34" charset="0"/>
                <a:cs typeface="Calibri" panose="020F0502020204030204" pitchFamily="34" charset="0"/>
              </a:rPr>
              <a:t>Facilitates Electronic Disclosures</a:t>
            </a:r>
          </a:p>
          <a:p>
            <a:pPr algn="ctr" eaLnBrk="0" fontAlgn="base" hangingPunct="0">
              <a:lnSpc>
                <a:spcPct val="85000"/>
              </a:lnSpc>
              <a:spcBef>
                <a:spcPct val="0"/>
              </a:spcBef>
              <a:spcAft>
                <a:spcPct val="0"/>
              </a:spcAft>
            </a:pPr>
            <a:r>
              <a:rPr lang="en-US" sz="1400" dirty="0">
                <a:solidFill>
                  <a:schemeClr val="bg1">
                    <a:lumMod val="65000"/>
                  </a:schemeClr>
                </a:solidFill>
                <a:latin typeface="Calibri" panose="020F0502020204030204" pitchFamily="34" charset="0"/>
                <a:cs typeface="Calibri" panose="020F0502020204030204" pitchFamily="34" charset="0"/>
              </a:rPr>
              <a:t>(replacing paper/PDF process)</a:t>
            </a:r>
          </a:p>
          <a:p>
            <a:pPr eaLnBrk="0" fontAlgn="base" hangingPunct="0">
              <a:lnSpc>
                <a:spcPct val="85000"/>
              </a:lnSpc>
              <a:spcBef>
                <a:spcPct val="0"/>
              </a:spcBef>
              <a:spcAft>
                <a:spcPct val="0"/>
              </a:spcAft>
            </a:pPr>
            <a:endParaRPr lang="en-US" sz="1600"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dirty="0">
                <a:solidFill>
                  <a:schemeClr val="bg1">
                    <a:lumMod val="65000"/>
                  </a:schemeClr>
                </a:solidFill>
                <a:latin typeface="Calibri" panose="020F0502020204030204" pitchFamily="34" charset="0"/>
                <a:cs typeface="Calibri" panose="020F0502020204030204" pitchFamily="34" charset="0"/>
              </a:rPr>
              <a:t>Covers the following form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PH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700U</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9510</a:t>
            </a:r>
          </a:p>
          <a:p>
            <a:pPr algn="ctr" eaLnBrk="0" fontAlgn="base" hangingPunct="0">
              <a:lnSpc>
                <a:spcPct val="85000"/>
              </a:lnSpc>
              <a:spcBef>
                <a:spcPct val="0"/>
              </a:spcBef>
              <a:spcAft>
                <a:spcPct val="0"/>
              </a:spcAft>
            </a:pPr>
            <a:endParaRPr lang="en-US" sz="1600" dirty="0">
              <a:solidFill>
                <a:schemeClr val="bg1"/>
              </a:solidFill>
              <a:latin typeface="Arial Narrow" pitchFamily="34" charset="0"/>
              <a:cs typeface="Arial" pitchFamily="34" charset="0"/>
            </a:endParaRPr>
          </a:p>
        </p:txBody>
      </p:sp>
      <p:sp>
        <p:nvSpPr>
          <p:cNvPr id="13" name="TextBox 12"/>
          <p:cNvSpPr txBox="1"/>
          <p:nvPr/>
        </p:nvSpPr>
        <p:spPr>
          <a:xfrm>
            <a:off x="4647654" y="1943683"/>
            <a:ext cx="3198379" cy="3488647"/>
          </a:xfrm>
          <a:prstGeom prst="rect">
            <a:avLst/>
          </a:prstGeom>
          <a:noFill/>
          <a:effectLst/>
        </p:spPr>
        <p:txBody>
          <a:bodyPr wrap="square" rtlCol="0">
            <a:spAutoFit/>
          </a:bodyPr>
          <a:lstStyle/>
          <a:p>
            <a:pPr algn="ctr" eaLnBrk="0" fontAlgn="base" hangingPunct="0">
              <a:spcBef>
                <a:spcPct val="0"/>
              </a:spcBef>
              <a:spcAft>
                <a:spcPct val="0"/>
              </a:spcAft>
            </a:pPr>
            <a:r>
              <a:rPr lang="en-US" sz="3200" b="1" dirty="0" err="1">
                <a:solidFill>
                  <a:schemeClr val="bg1">
                    <a:lumMod val="65000"/>
                  </a:schemeClr>
                </a:solidFill>
                <a:latin typeface="Calibri" panose="020F0502020204030204" pitchFamily="34" charset="0"/>
                <a:cs typeface="Calibri" panose="020F0502020204030204" pitchFamily="34" charset="0"/>
              </a:rPr>
              <a:t>Kuali</a:t>
            </a:r>
            <a:r>
              <a:rPr lang="en-US" sz="3200" b="1" dirty="0">
                <a:solidFill>
                  <a:schemeClr val="bg1">
                    <a:lumMod val="65000"/>
                  </a:schemeClr>
                </a:solidFill>
                <a:latin typeface="Calibri" panose="020F0502020204030204" pitchFamily="34" charset="0"/>
                <a:cs typeface="Calibri" panose="020F0502020204030204" pitchFamily="34" charset="0"/>
              </a:rPr>
              <a:t> Research</a:t>
            </a:r>
          </a:p>
          <a:p>
            <a:pPr algn="ctr" eaLnBrk="0" fontAlgn="base" hangingPunct="0">
              <a:lnSpc>
                <a:spcPct val="85000"/>
              </a:lnSpc>
              <a:spcBef>
                <a:spcPct val="0"/>
              </a:spcBef>
              <a:spcAft>
                <a:spcPct val="0"/>
              </a:spcAft>
            </a:pPr>
            <a:r>
              <a:rPr lang="en-US" sz="1600" dirty="0">
                <a:solidFill>
                  <a:schemeClr val="bg1">
                    <a:lumMod val="65000"/>
                  </a:schemeClr>
                </a:solidFill>
                <a:latin typeface="Calibri" panose="020F0502020204030204" pitchFamily="34" charset="0"/>
                <a:cs typeface="Calibri" panose="020F0502020204030204" pitchFamily="34" charset="0"/>
              </a:rPr>
              <a:t>Sponsored Programs Modules</a:t>
            </a:r>
          </a:p>
          <a:p>
            <a:pPr algn="ctr" eaLnBrk="0" fontAlgn="base" hangingPunct="0">
              <a:lnSpc>
                <a:spcPct val="85000"/>
              </a:lnSpc>
              <a:spcBef>
                <a:spcPct val="0"/>
              </a:spcBef>
              <a:spcAft>
                <a:spcPct val="0"/>
              </a:spcAft>
            </a:pPr>
            <a:r>
              <a:rPr lang="en-US" sz="1200" dirty="0">
                <a:solidFill>
                  <a:schemeClr val="bg1">
                    <a:lumMod val="65000"/>
                  </a:schemeClr>
                </a:solidFill>
                <a:latin typeface="Calibri" panose="020F0502020204030204" pitchFamily="34" charset="0"/>
                <a:cs typeface="Calibri" panose="020F0502020204030204" pitchFamily="34" charset="0"/>
              </a:rPr>
              <a:t>(</a:t>
            </a:r>
            <a:r>
              <a:rPr lang="en-US" sz="1400" dirty="0">
                <a:solidFill>
                  <a:schemeClr val="bg1">
                    <a:lumMod val="65000"/>
                  </a:schemeClr>
                </a:solidFill>
                <a:latin typeface="Calibri" panose="020F0502020204030204" pitchFamily="34" charset="0"/>
                <a:cs typeface="Calibri" panose="020F0502020204030204" pitchFamily="34" charset="0"/>
              </a:rPr>
              <a:t>replacing EPD, </a:t>
            </a:r>
            <a:r>
              <a:rPr lang="en-US" sz="1400" dirty="0" err="1">
                <a:solidFill>
                  <a:schemeClr val="bg1">
                    <a:lumMod val="65000"/>
                  </a:schemeClr>
                </a:solidFill>
                <a:latin typeface="Calibri" panose="020F0502020204030204" pitchFamily="34" charset="0"/>
                <a:cs typeface="Calibri" panose="020F0502020204030204" pitchFamily="34" charset="0"/>
              </a:rPr>
              <a:t>Coeus</a:t>
            </a:r>
            <a:r>
              <a:rPr lang="en-US" sz="1400" dirty="0">
                <a:solidFill>
                  <a:schemeClr val="bg1">
                    <a:lumMod val="65000"/>
                  </a:schemeClr>
                </a:solidFill>
                <a:latin typeface="Calibri" panose="020F0502020204030204" pitchFamily="34" charset="0"/>
                <a:cs typeface="Calibri" panose="020F0502020204030204" pitchFamily="34" charset="0"/>
              </a:rPr>
              <a:t> IP, </a:t>
            </a:r>
            <a:r>
              <a:rPr lang="en-US" sz="1400" dirty="0" err="1">
                <a:solidFill>
                  <a:schemeClr val="bg1">
                    <a:lumMod val="65000"/>
                  </a:schemeClr>
                </a:solidFill>
                <a:latin typeface="Calibri" panose="020F0502020204030204" pitchFamily="34" charset="0"/>
                <a:cs typeface="Calibri" panose="020F0502020204030204" pitchFamily="34" charset="0"/>
              </a:rPr>
              <a:t>Coeus</a:t>
            </a:r>
            <a:r>
              <a:rPr lang="en-US" sz="1400" dirty="0">
                <a:solidFill>
                  <a:schemeClr val="bg1">
                    <a:lumMod val="65000"/>
                  </a:schemeClr>
                </a:solidFill>
                <a:latin typeface="Calibri" panose="020F0502020204030204" pitchFamily="34" charset="0"/>
                <a:cs typeface="Calibri" panose="020F0502020204030204" pitchFamily="34" charset="0"/>
              </a:rPr>
              <a:t> Award)</a:t>
            </a:r>
          </a:p>
          <a:p>
            <a:pPr eaLnBrk="0" fontAlgn="base" hangingPunct="0">
              <a:lnSpc>
                <a:spcPct val="85000"/>
              </a:lnSpc>
              <a:spcBef>
                <a:spcPct val="0"/>
              </a:spcBef>
              <a:spcAft>
                <a:spcPct val="0"/>
              </a:spcAft>
            </a:pPr>
            <a:endParaRPr lang="en-US" sz="1600"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endParaRPr lang="en-US" sz="1600"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lumMod val="65000"/>
                  </a:schemeClr>
                </a:solidFill>
                <a:latin typeface="Calibri" panose="020F0502020204030204" pitchFamily="34" charset="0"/>
                <a:cs typeface="Calibri" panose="020F0502020204030204" pitchFamily="34" charset="0"/>
              </a:rPr>
              <a:t>Pre-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Proposal Development* *</a:t>
            </a:r>
            <a:r>
              <a:rPr lang="en-US" sz="1600" dirty="0">
                <a:solidFill>
                  <a:schemeClr val="bg1">
                    <a:lumMod val="65000"/>
                  </a:schemeClr>
                </a:solidFill>
                <a:latin typeface="Calibri" panose="020F0502020204030204" pitchFamily="34" charset="0"/>
                <a:cs typeface="Calibri" panose="020F0502020204030204" pitchFamily="34" charset="0"/>
              </a:rPr>
              <a:t>(includes the KR Dashbo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Institutional Proposal</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Negotiations</a:t>
            </a:r>
          </a:p>
          <a:p>
            <a:pPr eaLnBrk="0" fontAlgn="base" hangingPunct="0">
              <a:lnSpc>
                <a:spcPct val="85000"/>
              </a:lnSpc>
              <a:spcBef>
                <a:spcPct val="0"/>
              </a:spcBef>
              <a:spcAft>
                <a:spcPct val="0"/>
              </a:spcAft>
            </a:pPr>
            <a:endParaRPr lang="en-US"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lumMod val="65000"/>
                  </a:schemeClr>
                </a:solidFill>
                <a:latin typeface="Calibri" panose="020F0502020204030204" pitchFamily="34" charset="0"/>
                <a:cs typeface="Calibri" panose="020F0502020204030204" pitchFamily="34" charset="0"/>
              </a:rPr>
              <a:t>Pos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Subaward</a:t>
            </a:r>
          </a:p>
        </p:txBody>
      </p:sp>
      <p:sp>
        <p:nvSpPr>
          <p:cNvPr id="14" name="TextBox 13"/>
          <p:cNvSpPr txBox="1"/>
          <p:nvPr/>
        </p:nvSpPr>
        <p:spPr>
          <a:xfrm>
            <a:off x="8068375" y="2186151"/>
            <a:ext cx="3613551" cy="978729"/>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bg1"/>
                </a:solidFill>
                <a:latin typeface="Calibri" panose="020F0502020204030204" pitchFamily="34" charset="0"/>
                <a:cs typeface="Calibri" panose="020F0502020204030204" pitchFamily="34" charset="0"/>
              </a:rPr>
              <a:t>Kuali</a:t>
            </a:r>
            <a:r>
              <a:rPr lang="en-US" sz="2800" b="1" dirty="0">
                <a:solidFill>
                  <a:schemeClr val="bg1"/>
                </a:solidFill>
                <a:latin typeface="Calibri" panose="020F0502020204030204" pitchFamily="34" charset="0"/>
                <a:cs typeface="Calibri" panose="020F0502020204030204" pitchFamily="34" charset="0"/>
              </a:rPr>
              <a:t> Protocols </a:t>
            </a:r>
          </a:p>
          <a:p>
            <a:pPr algn="ctr" eaLnBrk="0" fontAlgn="base" hangingPunct="0">
              <a:spcBef>
                <a:spcPct val="0"/>
              </a:spcBef>
              <a:spcAft>
                <a:spcPct val="0"/>
              </a:spcAft>
            </a:pPr>
            <a:r>
              <a:rPr lang="en-US" sz="1600" dirty="0">
                <a:solidFill>
                  <a:schemeClr val="bg1"/>
                </a:solidFill>
                <a:latin typeface="Calibri" panose="020F0502020204030204" pitchFamily="34" charset="0"/>
                <a:cs typeface="Calibri" panose="020F0502020204030204" pitchFamily="34" charset="0"/>
              </a:rPr>
              <a:t>Human Subjects Protocols</a:t>
            </a:r>
          </a:p>
          <a:p>
            <a:pPr algn="ctr" eaLnBrk="0" fontAlgn="base" hangingPunct="0">
              <a:lnSpc>
                <a:spcPct val="85000"/>
              </a:lnSpc>
              <a:spcBef>
                <a:spcPct val="0"/>
              </a:spcBef>
              <a:spcAft>
                <a:spcPct val="0"/>
              </a:spcAft>
            </a:pPr>
            <a:r>
              <a:rPr lang="en-US" sz="1400" dirty="0">
                <a:solidFill>
                  <a:schemeClr val="bg1"/>
                </a:solidFill>
                <a:latin typeface="Calibri" panose="020F0502020204030204" pitchFamily="34" charset="0"/>
                <a:cs typeface="Calibri" panose="020F0502020204030204" pitchFamily="34" charset="0"/>
              </a:rPr>
              <a:t>(replacing legacy system)</a:t>
            </a:r>
          </a:p>
        </p:txBody>
      </p:sp>
      <p:sp>
        <p:nvSpPr>
          <p:cNvPr id="3" name="TextBox 2"/>
          <p:cNvSpPr txBox="1"/>
          <p:nvPr/>
        </p:nvSpPr>
        <p:spPr>
          <a:xfrm>
            <a:off x="1042710" y="5966987"/>
            <a:ext cx="3165396" cy="338554"/>
          </a:xfrm>
          <a:prstGeom prst="rect">
            <a:avLst/>
          </a:prstGeom>
          <a:noFill/>
        </p:spPr>
        <p:txBody>
          <a:bodyPr wrap="square" rtlCol="0">
            <a:spAutoFit/>
          </a:bodyPr>
          <a:lstStyle/>
          <a:p>
            <a:r>
              <a:rPr lang="en-US" sz="1600" b="1" dirty="0">
                <a:solidFill>
                  <a:schemeClr val="bg1">
                    <a:lumMod val="65000"/>
                  </a:schemeClr>
                </a:solidFill>
                <a:latin typeface="Calibri" panose="020F0502020204030204" pitchFamily="34" charset="0"/>
                <a:cs typeface="Calibri" panose="020F0502020204030204" pitchFamily="34" charset="0"/>
              </a:rPr>
              <a:t>Project Sponsor: </a:t>
            </a:r>
            <a:r>
              <a:rPr lang="en-US" sz="1600" dirty="0">
                <a:solidFill>
                  <a:schemeClr val="bg1">
                    <a:lumMod val="65000"/>
                  </a:schemeClr>
                </a:solidFill>
                <a:latin typeface="Calibri" panose="020F0502020204030204" pitchFamily="34" charset="0"/>
                <a:cs typeface="Calibri" panose="020F0502020204030204" pitchFamily="34" charset="0"/>
              </a:rPr>
              <a:t>Sandra A. Brown</a:t>
            </a:r>
          </a:p>
        </p:txBody>
      </p:sp>
      <p:sp>
        <p:nvSpPr>
          <p:cNvPr id="10" name="TextBox 9"/>
          <p:cNvSpPr txBox="1"/>
          <p:nvPr/>
        </p:nvSpPr>
        <p:spPr>
          <a:xfrm>
            <a:off x="4537115" y="5985771"/>
            <a:ext cx="3165396" cy="338554"/>
          </a:xfrm>
          <a:prstGeom prst="rect">
            <a:avLst/>
          </a:prstGeom>
          <a:noFill/>
        </p:spPr>
        <p:txBody>
          <a:bodyPr wrap="square" rtlCol="0">
            <a:spAutoFit/>
          </a:bodyPr>
          <a:lstStyle/>
          <a:p>
            <a:r>
              <a:rPr lang="en-US" sz="1600" b="1" dirty="0">
                <a:solidFill>
                  <a:schemeClr val="bg1">
                    <a:lumMod val="65000"/>
                  </a:schemeClr>
                </a:solidFill>
              </a:rPr>
              <a:t>Project Sponsor: </a:t>
            </a:r>
            <a:r>
              <a:rPr lang="en-US" sz="1600" dirty="0">
                <a:solidFill>
                  <a:schemeClr val="bg1">
                    <a:lumMod val="65000"/>
                  </a:schemeClr>
                </a:solidFill>
              </a:rPr>
              <a:t>Sandra A. Brown</a:t>
            </a:r>
          </a:p>
        </p:txBody>
      </p:sp>
      <p:sp>
        <p:nvSpPr>
          <p:cNvPr id="11" name="TextBox 10"/>
          <p:cNvSpPr txBox="1"/>
          <p:nvPr/>
        </p:nvSpPr>
        <p:spPr>
          <a:xfrm>
            <a:off x="8199872" y="5962382"/>
            <a:ext cx="3165396" cy="338554"/>
          </a:xfrm>
          <a:prstGeom prst="rect">
            <a:avLst/>
          </a:prstGeom>
          <a:noFill/>
        </p:spPr>
        <p:txBody>
          <a:bodyPr wrap="square" rtlCol="0">
            <a:spAutoFit/>
          </a:bodyPr>
          <a:lstStyle/>
          <a:p>
            <a:r>
              <a:rPr lang="en-US" sz="1600" b="1" dirty="0">
                <a:solidFill>
                  <a:schemeClr val="bg1"/>
                </a:solidFill>
              </a:rPr>
              <a:t>Project Sponsor: </a:t>
            </a:r>
            <a:r>
              <a:rPr lang="en-US" sz="1600" dirty="0">
                <a:solidFill>
                  <a:schemeClr val="bg1"/>
                </a:solidFill>
              </a:rPr>
              <a:t>Gary Firestein</a:t>
            </a:r>
          </a:p>
        </p:txBody>
      </p:sp>
      <p:sp>
        <p:nvSpPr>
          <p:cNvPr id="4" name="Title 3"/>
          <p:cNvSpPr>
            <a:spLocks noGrp="1"/>
          </p:cNvSpPr>
          <p:nvPr>
            <p:ph type="title"/>
          </p:nvPr>
        </p:nvSpPr>
        <p:spPr/>
        <p:txBody>
          <a:bodyPr/>
          <a:lstStyle/>
          <a:p>
            <a:r>
              <a:rPr lang="en-US" dirty="0" err="1"/>
              <a:t>Kuali</a:t>
            </a:r>
            <a:r>
              <a:rPr lang="en-US" dirty="0"/>
              <a:t> Initiatives at UC San Diego</a:t>
            </a:r>
          </a:p>
        </p:txBody>
      </p:sp>
      <p:sp>
        <p:nvSpPr>
          <p:cNvPr id="6" name="Text Placeholder 5"/>
          <p:cNvSpPr>
            <a:spLocks noGrp="1"/>
          </p:cNvSpPr>
          <p:nvPr>
            <p:ph type="body" sz="quarter" idx="13"/>
          </p:nvPr>
        </p:nvSpPr>
        <p:spPr/>
        <p:txBody>
          <a:bodyPr/>
          <a:lstStyle/>
          <a:p>
            <a:r>
              <a:rPr lang="en-US" dirty="0"/>
              <a:t>ESR </a:t>
            </a:r>
            <a:r>
              <a:rPr lang="en-US" dirty="0" err="1"/>
              <a:t>Kuali</a:t>
            </a:r>
            <a:r>
              <a:rPr lang="en-US" dirty="0"/>
              <a:t> project updates</a:t>
            </a:r>
          </a:p>
        </p:txBody>
      </p:sp>
      <p:sp>
        <p:nvSpPr>
          <p:cNvPr id="15" name="Rectangle 14"/>
          <p:cNvSpPr/>
          <p:nvPr/>
        </p:nvSpPr>
        <p:spPr>
          <a:xfrm>
            <a:off x="9341708" y="3164880"/>
            <a:ext cx="2233522" cy="2862322"/>
          </a:xfrm>
          <a:prstGeom prst="rect">
            <a:avLst/>
          </a:prstGeom>
        </p:spPr>
        <p:txBody>
          <a:bodyPr wrap="square">
            <a:spAutoFit/>
          </a:bodyPr>
          <a:lstStyle/>
          <a:p>
            <a:pPr marL="285750" indent="-285750">
              <a:buFont typeface="Arial" panose="020B0604020202020204" pitchFamily="34" charset="0"/>
              <a:buChar char="•"/>
            </a:pPr>
            <a:r>
              <a:rPr lang="en-US" dirty="0">
                <a:solidFill>
                  <a:schemeClr val="bg1"/>
                </a:solidFill>
              </a:rPr>
              <a:t>PIs prepare and submit</a:t>
            </a:r>
          </a:p>
          <a:p>
            <a:pPr marL="742950" lvl="1" indent="-285750">
              <a:buFont typeface="Arial" panose="020B0604020202020204" pitchFamily="34" charset="0"/>
              <a:buChar char="•"/>
            </a:pPr>
            <a:r>
              <a:rPr lang="en-US" dirty="0">
                <a:solidFill>
                  <a:schemeClr val="bg1"/>
                </a:solidFill>
              </a:rPr>
              <a:t>New Studies</a:t>
            </a:r>
          </a:p>
          <a:p>
            <a:pPr marL="742950" lvl="1" indent="-285750">
              <a:buFont typeface="Arial" panose="020B0604020202020204" pitchFamily="34" charset="0"/>
              <a:buChar char="•"/>
            </a:pPr>
            <a:r>
              <a:rPr lang="en-US" dirty="0">
                <a:solidFill>
                  <a:schemeClr val="bg1"/>
                </a:solidFill>
              </a:rPr>
              <a:t>Modifications</a:t>
            </a:r>
          </a:p>
          <a:p>
            <a:pPr marL="742950" lvl="1" indent="-285750">
              <a:buFont typeface="Arial" panose="020B0604020202020204" pitchFamily="34" charset="0"/>
              <a:buChar char="•"/>
            </a:pPr>
            <a:r>
              <a:rPr lang="en-US" dirty="0">
                <a:solidFill>
                  <a:schemeClr val="bg1"/>
                </a:solidFill>
              </a:rPr>
              <a:t>Renewals</a:t>
            </a:r>
          </a:p>
          <a:p>
            <a:pPr marL="742950" lvl="1" indent="-285750">
              <a:buFont typeface="Arial" panose="020B0604020202020204" pitchFamily="34" charset="0"/>
              <a:buChar char="•"/>
            </a:pPr>
            <a:r>
              <a:rPr lang="en-US" dirty="0">
                <a:solidFill>
                  <a:schemeClr val="bg1"/>
                </a:solidFill>
              </a:rPr>
              <a:t>Reports</a:t>
            </a:r>
          </a:p>
          <a:p>
            <a:pPr marL="285750" indent="-285750">
              <a:buFont typeface="Arial" panose="020B0604020202020204" pitchFamily="34" charset="0"/>
              <a:buChar char="•"/>
            </a:pPr>
            <a:r>
              <a:rPr lang="en-US" dirty="0">
                <a:solidFill>
                  <a:schemeClr val="bg1"/>
                </a:solidFill>
              </a:rPr>
              <a:t>For review by</a:t>
            </a:r>
          </a:p>
          <a:p>
            <a:pPr marL="742950" lvl="1" indent="-285750">
              <a:buFont typeface="Arial" panose="020B0604020202020204" pitchFamily="34" charset="0"/>
              <a:buChar char="•"/>
            </a:pPr>
            <a:r>
              <a:rPr lang="en-US" dirty="0">
                <a:solidFill>
                  <a:schemeClr val="bg1"/>
                </a:solidFill>
              </a:rPr>
              <a:t>IRBs</a:t>
            </a:r>
          </a:p>
          <a:p>
            <a:pPr marL="742950" lvl="1" indent="-285750">
              <a:buFont typeface="Arial" panose="020B0604020202020204" pitchFamily="34" charset="0"/>
              <a:buChar char="•"/>
            </a:pPr>
            <a:r>
              <a:rPr lang="en-US" dirty="0">
                <a:solidFill>
                  <a:schemeClr val="bg1"/>
                </a:solidFill>
              </a:rPr>
              <a:t>SCRO</a:t>
            </a:r>
          </a:p>
          <a:p>
            <a:pPr marL="742950" lvl="1" indent="-285750">
              <a:buFont typeface="Arial" panose="020B0604020202020204" pitchFamily="34" charset="0"/>
              <a:buChar char="•"/>
            </a:pPr>
            <a:r>
              <a:rPr lang="en-US" dirty="0">
                <a:solidFill>
                  <a:schemeClr val="bg1"/>
                </a:solidFill>
              </a:rPr>
              <a:t>HRPP</a:t>
            </a:r>
          </a:p>
        </p:txBody>
      </p:sp>
    </p:spTree>
    <p:extLst>
      <p:ext uri="{BB962C8B-B14F-4D97-AF65-F5344CB8AC3E}">
        <p14:creationId xmlns:p14="http://schemas.microsoft.com/office/powerpoint/2010/main" val="2174431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err="1"/>
              <a:t>Kuali</a:t>
            </a:r>
            <a:r>
              <a:rPr lang="en-US" dirty="0"/>
              <a:t> IRB </a:t>
            </a:r>
          </a:p>
        </p:txBody>
      </p:sp>
      <p:sp>
        <p:nvSpPr>
          <p:cNvPr id="3" name="Text Placeholder 2"/>
          <p:cNvSpPr>
            <a:spLocks noGrp="1"/>
          </p:cNvSpPr>
          <p:nvPr>
            <p:ph type="body" sz="quarter" idx="13"/>
          </p:nvPr>
        </p:nvSpPr>
        <p:spPr/>
        <p:txBody>
          <a:bodyPr/>
          <a:lstStyle/>
          <a:p>
            <a:r>
              <a:rPr lang="en-US" dirty="0"/>
              <a:t>Project Time </a:t>
            </a:r>
            <a:r>
              <a:rPr lang="en-US" dirty="0" smtClean="0"/>
              <a:t>Line</a:t>
            </a:r>
            <a:endParaRPr lang="en-US" dirty="0"/>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solidFill>
                  <a:srgbClr val="A5A5A5"/>
                </a:solidFill>
              </a:rPr>
              <a:pPr/>
              <a:t>45</a:t>
            </a:fld>
            <a:endParaRPr lang="en-US" dirty="0">
              <a:solidFill>
                <a:srgbClr val="A5A5A5"/>
              </a:solidFill>
            </a:endParaRPr>
          </a:p>
        </p:txBody>
      </p:sp>
      <p:sp>
        <p:nvSpPr>
          <p:cNvPr id="11" name="TextBox 10"/>
          <p:cNvSpPr txBox="1"/>
          <p:nvPr/>
        </p:nvSpPr>
        <p:spPr>
          <a:xfrm>
            <a:off x="3738339" y="1639707"/>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a:solidFill>
                  <a:srgbClr val="05BFD5"/>
                </a:solidFill>
              </a:rPr>
              <a:t>We are here</a:t>
            </a:r>
          </a:p>
        </p:txBody>
      </p:sp>
      <p:cxnSp>
        <p:nvCxnSpPr>
          <p:cNvPr id="18" name="Elbow Connector 17"/>
          <p:cNvCxnSpPr>
            <a:stCxn id="11" idx="1"/>
          </p:cNvCxnSpPr>
          <p:nvPr/>
        </p:nvCxnSpPr>
        <p:spPr>
          <a:xfrm rot="10800000" flipV="1">
            <a:off x="3457309" y="1824373"/>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19" name="TextBox 18"/>
          <p:cNvSpPr txBox="1"/>
          <p:nvPr/>
        </p:nvSpPr>
        <p:spPr>
          <a:xfrm>
            <a:off x="356561" y="2705290"/>
            <a:ext cx="1176746" cy="253916"/>
          </a:xfrm>
          <a:prstGeom prst="rect">
            <a:avLst/>
          </a:prstGeom>
          <a:noFill/>
        </p:spPr>
        <p:txBody>
          <a:bodyPr wrap="square" rtlCol="0">
            <a:spAutoFit/>
          </a:bodyPr>
          <a:lstStyle/>
          <a:p>
            <a:pPr algn="ctr"/>
            <a:r>
              <a:rPr lang="en-US" sz="1050" dirty="0">
                <a:solidFill>
                  <a:schemeClr val="bg1">
                    <a:lumMod val="50000"/>
                  </a:schemeClr>
                </a:solidFill>
              </a:rPr>
              <a:t>Nov – Dec 2018</a:t>
            </a:r>
          </a:p>
        </p:txBody>
      </p:sp>
      <p:sp>
        <p:nvSpPr>
          <p:cNvPr id="20" name="TextBox 19"/>
          <p:cNvSpPr txBox="1"/>
          <p:nvPr/>
        </p:nvSpPr>
        <p:spPr>
          <a:xfrm>
            <a:off x="1612884" y="2705290"/>
            <a:ext cx="1176746" cy="253916"/>
          </a:xfrm>
          <a:prstGeom prst="rect">
            <a:avLst/>
          </a:prstGeom>
          <a:noFill/>
        </p:spPr>
        <p:txBody>
          <a:bodyPr wrap="square" rtlCol="0">
            <a:spAutoFit/>
          </a:bodyPr>
          <a:lstStyle/>
          <a:p>
            <a:pPr algn="ctr"/>
            <a:r>
              <a:rPr lang="en-US" sz="1050" dirty="0">
                <a:solidFill>
                  <a:schemeClr val="accent2"/>
                </a:solidFill>
              </a:rPr>
              <a:t>Jan – Mar 2019</a:t>
            </a:r>
          </a:p>
        </p:txBody>
      </p:sp>
      <p:sp>
        <p:nvSpPr>
          <p:cNvPr id="23" name="TextBox 22"/>
          <p:cNvSpPr txBox="1"/>
          <p:nvPr/>
        </p:nvSpPr>
        <p:spPr>
          <a:xfrm>
            <a:off x="2768421" y="2709334"/>
            <a:ext cx="1335900" cy="253916"/>
          </a:xfrm>
          <a:prstGeom prst="rect">
            <a:avLst/>
          </a:prstGeom>
          <a:noFill/>
        </p:spPr>
        <p:txBody>
          <a:bodyPr wrap="square" rtlCol="0">
            <a:spAutoFit/>
          </a:bodyPr>
          <a:lstStyle/>
          <a:p>
            <a:pPr algn="ctr"/>
            <a:r>
              <a:rPr lang="en-US" sz="1050" dirty="0">
                <a:solidFill>
                  <a:schemeClr val="accent2"/>
                </a:solidFill>
              </a:rPr>
              <a:t>Apr – Jun 2019</a:t>
            </a:r>
          </a:p>
        </p:txBody>
      </p:sp>
      <p:sp>
        <p:nvSpPr>
          <p:cNvPr id="24" name="TextBox 23"/>
          <p:cNvSpPr txBox="1"/>
          <p:nvPr/>
        </p:nvSpPr>
        <p:spPr>
          <a:xfrm>
            <a:off x="4024744" y="2709334"/>
            <a:ext cx="1335900" cy="253916"/>
          </a:xfrm>
          <a:prstGeom prst="rect">
            <a:avLst/>
          </a:prstGeom>
          <a:noFill/>
        </p:spPr>
        <p:txBody>
          <a:bodyPr wrap="square" rtlCol="0">
            <a:spAutoFit/>
          </a:bodyPr>
          <a:lstStyle/>
          <a:p>
            <a:pPr algn="ctr"/>
            <a:r>
              <a:rPr lang="en-US" sz="1050" dirty="0">
                <a:solidFill>
                  <a:schemeClr val="bg1">
                    <a:lumMod val="50000"/>
                  </a:schemeClr>
                </a:solidFill>
              </a:rPr>
              <a:t>Jul – Sept 2019</a:t>
            </a:r>
          </a:p>
        </p:txBody>
      </p:sp>
      <p:sp>
        <p:nvSpPr>
          <p:cNvPr id="25" name="TextBox 24"/>
          <p:cNvSpPr txBox="1"/>
          <p:nvPr/>
        </p:nvSpPr>
        <p:spPr>
          <a:xfrm>
            <a:off x="5381853" y="2709334"/>
            <a:ext cx="1176746" cy="253916"/>
          </a:xfrm>
          <a:prstGeom prst="rect">
            <a:avLst/>
          </a:prstGeom>
          <a:noFill/>
        </p:spPr>
        <p:txBody>
          <a:bodyPr wrap="square" rtlCol="0">
            <a:spAutoFit/>
          </a:bodyPr>
          <a:lstStyle/>
          <a:p>
            <a:pPr algn="ctr"/>
            <a:r>
              <a:rPr lang="en-US" sz="1050" dirty="0">
                <a:solidFill>
                  <a:schemeClr val="bg1">
                    <a:lumMod val="50000"/>
                  </a:schemeClr>
                </a:solidFill>
              </a:rPr>
              <a:t>Oct – Nov 2019</a:t>
            </a:r>
          </a:p>
        </p:txBody>
      </p:sp>
      <p:sp>
        <p:nvSpPr>
          <p:cNvPr id="26" name="TextBox 25"/>
          <p:cNvSpPr txBox="1"/>
          <p:nvPr/>
        </p:nvSpPr>
        <p:spPr>
          <a:xfrm>
            <a:off x="6638176" y="2702218"/>
            <a:ext cx="1176746" cy="253916"/>
          </a:xfrm>
          <a:prstGeom prst="rect">
            <a:avLst/>
          </a:prstGeom>
          <a:noFill/>
        </p:spPr>
        <p:txBody>
          <a:bodyPr wrap="square" rtlCol="0">
            <a:spAutoFit/>
          </a:bodyPr>
          <a:lstStyle/>
          <a:p>
            <a:pPr algn="ctr"/>
            <a:r>
              <a:rPr lang="en-US" sz="1050" dirty="0">
                <a:solidFill>
                  <a:schemeClr val="bg1">
                    <a:lumMod val="50000"/>
                  </a:schemeClr>
                </a:solidFill>
              </a:rPr>
              <a:t>Sept – Nov 2019</a:t>
            </a:r>
          </a:p>
        </p:txBody>
      </p:sp>
      <p:sp>
        <p:nvSpPr>
          <p:cNvPr id="27" name="TextBox 26"/>
          <p:cNvSpPr txBox="1"/>
          <p:nvPr/>
        </p:nvSpPr>
        <p:spPr>
          <a:xfrm>
            <a:off x="7814922" y="2709333"/>
            <a:ext cx="1256323" cy="253916"/>
          </a:xfrm>
          <a:prstGeom prst="rect">
            <a:avLst/>
          </a:prstGeom>
          <a:noFill/>
        </p:spPr>
        <p:txBody>
          <a:bodyPr wrap="square" rtlCol="0">
            <a:spAutoFit/>
          </a:bodyPr>
          <a:lstStyle/>
          <a:p>
            <a:pPr algn="ctr"/>
            <a:r>
              <a:rPr lang="en-US" sz="1050" dirty="0">
                <a:solidFill>
                  <a:schemeClr val="accent2"/>
                </a:solidFill>
              </a:rPr>
              <a:t>Dec 2019/ Jan 2020</a:t>
            </a:r>
          </a:p>
        </p:txBody>
      </p:sp>
      <p:sp>
        <p:nvSpPr>
          <p:cNvPr id="32" name="TextBox 31"/>
          <p:cNvSpPr txBox="1"/>
          <p:nvPr/>
        </p:nvSpPr>
        <p:spPr>
          <a:xfrm>
            <a:off x="9150822" y="2709334"/>
            <a:ext cx="1176746" cy="253916"/>
          </a:xfrm>
          <a:prstGeom prst="rect">
            <a:avLst/>
          </a:prstGeom>
          <a:noFill/>
        </p:spPr>
        <p:txBody>
          <a:bodyPr wrap="square" rtlCol="0">
            <a:spAutoFit/>
          </a:bodyPr>
          <a:lstStyle/>
          <a:p>
            <a:pPr algn="ctr"/>
            <a:r>
              <a:rPr lang="en-US" sz="1050" dirty="0">
                <a:solidFill>
                  <a:schemeClr val="bg1">
                    <a:lumMod val="50000"/>
                  </a:schemeClr>
                </a:solidFill>
              </a:rPr>
              <a:t>Jan – Mar 2020</a:t>
            </a:r>
          </a:p>
        </p:txBody>
      </p:sp>
      <p:sp>
        <p:nvSpPr>
          <p:cNvPr id="33" name="TextBox 32"/>
          <p:cNvSpPr txBox="1"/>
          <p:nvPr/>
        </p:nvSpPr>
        <p:spPr>
          <a:xfrm>
            <a:off x="10407145" y="2702218"/>
            <a:ext cx="1176746" cy="253916"/>
          </a:xfrm>
          <a:prstGeom prst="rect">
            <a:avLst/>
          </a:prstGeom>
          <a:noFill/>
        </p:spPr>
        <p:txBody>
          <a:bodyPr wrap="square" rtlCol="0">
            <a:spAutoFit/>
          </a:bodyPr>
          <a:lstStyle/>
          <a:p>
            <a:pPr algn="ctr"/>
            <a:r>
              <a:rPr lang="en-US" sz="1050" dirty="0">
                <a:solidFill>
                  <a:schemeClr val="bg1">
                    <a:lumMod val="50000"/>
                  </a:schemeClr>
                </a:solidFill>
              </a:rPr>
              <a:t>Apr – Jun 2020</a:t>
            </a:r>
          </a:p>
        </p:txBody>
      </p:sp>
    </p:spTree>
    <p:extLst>
      <p:ext uri="{BB962C8B-B14F-4D97-AF65-F5344CB8AC3E}">
        <p14:creationId xmlns:p14="http://schemas.microsoft.com/office/powerpoint/2010/main" val="61664535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1763" y="1824373"/>
            <a:ext cx="10870163" cy="4623079"/>
            <a:chOff x="811763" y="1824373"/>
            <a:chExt cx="10870163" cy="4623079"/>
          </a:xfrm>
        </p:grpSpPr>
        <p:sp>
          <p:nvSpPr>
            <p:cNvPr id="4103" name="Freeform 7"/>
            <p:cNvSpPr>
              <a:spLocks/>
            </p:cNvSpPr>
            <p:nvPr/>
          </p:nvSpPr>
          <p:spPr bwMode="auto">
            <a:xfrm>
              <a:off x="811763" y="1824373"/>
              <a:ext cx="3622087" cy="4623079"/>
            </a:xfrm>
            <a:custGeom>
              <a:avLst/>
              <a:gdLst/>
              <a:ahLst/>
              <a:cxnLst>
                <a:cxn ang="0">
                  <a:pos x="1364" y="658"/>
                </a:cxn>
                <a:cxn ang="0">
                  <a:pos x="1406" y="664"/>
                </a:cxn>
                <a:cxn ang="0">
                  <a:pos x="1444" y="682"/>
                </a:cxn>
                <a:cxn ang="0">
                  <a:pos x="1478" y="706"/>
                </a:cxn>
                <a:cxn ang="0">
                  <a:pos x="1542" y="762"/>
                </a:cxn>
                <a:cxn ang="0">
                  <a:pos x="1576" y="788"/>
                </a:cxn>
                <a:cxn ang="0">
                  <a:pos x="1612" y="806"/>
                </a:cxn>
                <a:cxn ang="0">
                  <a:pos x="1654" y="812"/>
                </a:cxn>
                <a:cxn ang="0">
                  <a:pos x="1674" y="810"/>
                </a:cxn>
                <a:cxn ang="0">
                  <a:pos x="1712" y="802"/>
                </a:cxn>
                <a:cxn ang="0">
                  <a:pos x="1746" y="784"/>
                </a:cxn>
                <a:cxn ang="0">
                  <a:pos x="1776" y="758"/>
                </a:cxn>
                <a:cxn ang="0">
                  <a:pos x="1804" y="726"/>
                </a:cxn>
                <a:cxn ang="0">
                  <a:pos x="1826" y="688"/>
                </a:cxn>
                <a:cxn ang="0">
                  <a:pos x="1842" y="644"/>
                </a:cxn>
                <a:cxn ang="0">
                  <a:pos x="1854" y="596"/>
                </a:cxn>
                <a:cxn ang="0">
                  <a:pos x="1856" y="0"/>
                </a:cxn>
                <a:cxn ang="0">
                  <a:pos x="2" y="0"/>
                </a:cxn>
                <a:cxn ang="0">
                  <a:pos x="0" y="1856"/>
                </a:cxn>
                <a:cxn ang="0">
                  <a:pos x="1856" y="1284"/>
                </a:cxn>
                <a:cxn ang="0">
                  <a:pos x="1854" y="1258"/>
                </a:cxn>
                <a:cxn ang="0">
                  <a:pos x="1842" y="1212"/>
                </a:cxn>
                <a:cxn ang="0">
                  <a:pos x="1826" y="1168"/>
                </a:cxn>
                <a:cxn ang="0">
                  <a:pos x="1804" y="1130"/>
                </a:cxn>
                <a:cxn ang="0">
                  <a:pos x="1776" y="1098"/>
                </a:cxn>
                <a:cxn ang="0">
                  <a:pos x="1746" y="1072"/>
                </a:cxn>
                <a:cxn ang="0">
                  <a:pos x="1712" y="1054"/>
                </a:cxn>
                <a:cxn ang="0">
                  <a:pos x="1674" y="1046"/>
                </a:cxn>
                <a:cxn ang="0">
                  <a:pos x="1656" y="1044"/>
                </a:cxn>
                <a:cxn ang="0">
                  <a:pos x="1612" y="1050"/>
                </a:cxn>
                <a:cxn ang="0">
                  <a:pos x="1576" y="1068"/>
                </a:cxn>
                <a:cxn ang="0">
                  <a:pos x="1542" y="1092"/>
                </a:cxn>
                <a:cxn ang="0">
                  <a:pos x="1478" y="1150"/>
                </a:cxn>
                <a:cxn ang="0">
                  <a:pos x="1444" y="1174"/>
                </a:cxn>
                <a:cxn ang="0">
                  <a:pos x="1406" y="1192"/>
                </a:cxn>
                <a:cxn ang="0">
                  <a:pos x="1364" y="1198"/>
                </a:cxn>
                <a:cxn ang="0">
                  <a:pos x="1344" y="1198"/>
                </a:cxn>
                <a:cxn ang="0">
                  <a:pos x="1304" y="1186"/>
                </a:cxn>
                <a:cxn ang="0">
                  <a:pos x="1268" y="1166"/>
                </a:cxn>
                <a:cxn ang="0">
                  <a:pos x="1236" y="1136"/>
                </a:cxn>
                <a:cxn ang="0">
                  <a:pos x="1208" y="1100"/>
                </a:cxn>
                <a:cxn ang="0">
                  <a:pos x="1186" y="1056"/>
                </a:cxn>
                <a:cxn ang="0">
                  <a:pos x="1170" y="1008"/>
                </a:cxn>
                <a:cxn ang="0">
                  <a:pos x="1162" y="956"/>
                </a:cxn>
                <a:cxn ang="0">
                  <a:pos x="1162" y="928"/>
                </a:cxn>
                <a:cxn ang="0">
                  <a:pos x="1166" y="874"/>
                </a:cxn>
                <a:cxn ang="0">
                  <a:pos x="1178" y="822"/>
                </a:cxn>
                <a:cxn ang="0">
                  <a:pos x="1196" y="776"/>
                </a:cxn>
                <a:cxn ang="0">
                  <a:pos x="1222" y="736"/>
                </a:cxn>
                <a:cxn ang="0">
                  <a:pos x="1252" y="704"/>
                </a:cxn>
                <a:cxn ang="0">
                  <a:pos x="1286" y="678"/>
                </a:cxn>
                <a:cxn ang="0">
                  <a:pos x="1324" y="662"/>
                </a:cxn>
                <a:cxn ang="0">
                  <a:pos x="1364" y="658"/>
                </a:cxn>
              </a:cxnLst>
              <a:rect l="0" t="0" r="r" b="b"/>
              <a:pathLst>
                <a:path w="1856" h="1856">
                  <a:moveTo>
                    <a:pt x="1364" y="658"/>
                  </a:moveTo>
                  <a:lnTo>
                    <a:pt x="1364" y="658"/>
                  </a:lnTo>
                  <a:lnTo>
                    <a:pt x="1386" y="658"/>
                  </a:lnTo>
                  <a:lnTo>
                    <a:pt x="1406" y="664"/>
                  </a:lnTo>
                  <a:lnTo>
                    <a:pt x="1426" y="672"/>
                  </a:lnTo>
                  <a:lnTo>
                    <a:pt x="1444" y="682"/>
                  </a:lnTo>
                  <a:lnTo>
                    <a:pt x="1462" y="694"/>
                  </a:lnTo>
                  <a:lnTo>
                    <a:pt x="1478" y="706"/>
                  </a:lnTo>
                  <a:lnTo>
                    <a:pt x="1510" y="734"/>
                  </a:lnTo>
                  <a:lnTo>
                    <a:pt x="1542" y="762"/>
                  </a:lnTo>
                  <a:lnTo>
                    <a:pt x="1558" y="776"/>
                  </a:lnTo>
                  <a:lnTo>
                    <a:pt x="1576" y="788"/>
                  </a:lnTo>
                  <a:lnTo>
                    <a:pt x="1594" y="798"/>
                  </a:lnTo>
                  <a:lnTo>
                    <a:pt x="1612" y="806"/>
                  </a:lnTo>
                  <a:lnTo>
                    <a:pt x="1634" y="810"/>
                  </a:lnTo>
                  <a:lnTo>
                    <a:pt x="1654" y="812"/>
                  </a:lnTo>
                  <a:lnTo>
                    <a:pt x="1654" y="812"/>
                  </a:lnTo>
                  <a:lnTo>
                    <a:pt x="1674" y="810"/>
                  </a:lnTo>
                  <a:lnTo>
                    <a:pt x="1694" y="808"/>
                  </a:lnTo>
                  <a:lnTo>
                    <a:pt x="1712" y="802"/>
                  </a:lnTo>
                  <a:lnTo>
                    <a:pt x="1728" y="794"/>
                  </a:lnTo>
                  <a:lnTo>
                    <a:pt x="1746" y="784"/>
                  </a:lnTo>
                  <a:lnTo>
                    <a:pt x="1762" y="772"/>
                  </a:lnTo>
                  <a:lnTo>
                    <a:pt x="1776" y="758"/>
                  </a:lnTo>
                  <a:lnTo>
                    <a:pt x="1790" y="742"/>
                  </a:lnTo>
                  <a:lnTo>
                    <a:pt x="1804" y="726"/>
                  </a:lnTo>
                  <a:lnTo>
                    <a:pt x="1816" y="708"/>
                  </a:lnTo>
                  <a:lnTo>
                    <a:pt x="1826" y="688"/>
                  </a:lnTo>
                  <a:lnTo>
                    <a:pt x="1836" y="666"/>
                  </a:lnTo>
                  <a:lnTo>
                    <a:pt x="1842" y="644"/>
                  </a:lnTo>
                  <a:lnTo>
                    <a:pt x="1850" y="620"/>
                  </a:lnTo>
                  <a:lnTo>
                    <a:pt x="1854" y="596"/>
                  </a:lnTo>
                  <a:lnTo>
                    <a:pt x="1856" y="572"/>
                  </a:lnTo>
                  <a:lnTo>
                    <a:pt x="1856" y="0"/>
                  </a:lnTo>
                  <a:lnTo>
                    <a:pt x="2" y="0"/>
                  </a:lnTo>
                  <a:lnTo>
                    <a:pt x="2" y="0"/>
                  </a:lnTo>
                  <a:lnTo>
                    <a:pt x="0" y="0"/>
                  </a:lnTo>
                  <a:lnTo>
                    <a:pt x="0" y="1856"/>
                  </a:lnTo>
                  <a:lnTo>
                    <a:pt x="1856" y="1856"/>
                  </a:lnTo>
                  <a:lnTo>
                    <a:pt x="1856" y="1284"/>
                  </a:lnTo>
                  <a:lnTo>
                    <a:pt x="1856" y="1284"/>
                  </a:lnTo>
                  <a:lnTo>
                    <a:pt x="1854" y="1258"/>
                  </a:lnTo>
                  <a:lnTo>
                    <a:pt x="1850" y="1234"/>
                  </a:lnTo>
                  <a:lnTo>
                    <a:pt x="1842" y="1212"/>
                  </a:lnTo>
                  <a:lnTo>
                    <a:pt x="1836" y="1190"/>
                  </a:lnTo>
                  <a:lnTo>
                    <a:pt x="1826" y="1168"/>
                  </a:lnTo>
                  <a:lnTo>
                    <a:pt x="1816" y="1148"/>
                  </a:lnTo>
                  <a:lnTo>
                    <a:pt x="1804" y="1130"/>
                  </a:lnTo>
                  <a:lnTo>
                    <a:pt x="1790" y="1114"/>
                  </a:lnTo>
                  <a:lnTo>
                    <a:pt x="1776" y="1098"/>
                  </a:lnTo>
                  <a:lnTo>
                    <a:pt x="1762" y="1084"/>
                  </a:lnTo>
                  <a:lnTo>
                    <a:pt x="1746" y="1072"/>
                  </a:lnTo>
                  <a:lnTo>
                    <a:pt x="1728" y="1062"/>
                  </a:lnTo>
                  <a:lnTo>
                    <a:pt x="1712" y="1054"/>
                  </a:lnTo>
                  <a:lnTo>
                    <a:pt x="1694" y="1048"/>
                  </a:lnTo>
                  <a:lnTo>
                    <a:pt x="1674" y="1046"/>
                  </a:lnTo>
                  <a:lnTo>
                    <a:pt x="1656" y="1044"/>
                  </a:lnTo>
                  <a:lnTo>
                    <a:pt x="1656" y="1044"/>
                  </a:lnTo>
                  <a:lnTo>
                    <a:pt x="1634" y="1046"/>
                  </a:lnTo>
                  <a:lnTo>
                    <a:pt x="1612" y="1050"/>
                  </a:lnTo>
                  <a:lnTo>
                    <a:pt x="1594" y="1058"/>
                  </a:lnTo>
                  <a:lnTo>
                    <a:pt x="1576" y="1068"/>
                  </a:lnTo>
                  <a:lnTo>
                    <a:pt x="1558" y="1080"/>
                  </a:lnTo>
                  <a:lnTo>
                    <a:pt x="1542" y="1092"/>
                  </a:lnTo>
                  <a:lnTo>
                    <a:pt x="1510" y="1122"/>
                  </a:lnTo>
                  <a:lnTo>
                    <a:pt x="1478" y="1150"/>
                  </a:lnTo>
                  <a:lnTo>
                    <a:pt x="1462" y="1162"/>
                  </a:lnTo>
                  <a:lnTo>
                    <a:pt x="1444" y="1174"/>
                  </a:lnTo>
                  <a:lnTo>
                    <a:pt x="1426" y="1184"/>
                  </a:lnTo>
                  <a:lnTo>
                    <a:pt x="1406" y="1192"/>
                  </a:lnTo>
                  <a:lnTo>
                    <a:pt x="1386" y="1196"/>
                  </a:lnTo>
                  <a:lnTo>
                    <a:pt x="1364" y="1198"/>
                  </a:lnTo>
                  <a:lnTo>
                    <a:pt x="1364" y="1198"/>
                  </a:lnTo>
                  <a:lnTo>
                    <a:pt x="1344" y="1198"/>
                  </a:lnTo>
                  <a:lnTo>
                    <a:pt x="1324" y="1194"/>
                  </a:lnTo>
                  <a:lnTo>
                    <a:pt x="1304" y="1186"/>
                  </a:lnTo>
                  <a:lnTo>
                    <a:pt x="1286" y="1178"/>
                  </a:lnTo>
                  <a:lnTo>
                    <a:pt x="1268" y="1166"/>
                  </a:lnTo>
                  <a:lnTo>
                    <a:pt x="1252" y="1152"/>
                  </a:lnTo>
                  <a:lnTo>
                    <a:pt x="1236" y="1136"/>
                  </a:lnTo>
                  <a:lnTo>
                    <a:pt x="1222" y="1120"/>
                  </a:lnTo>
                  <a:lnTo>
                    <a:pt x="1208" y="1100"/>
                  </a:lnTo>
                  <a:lnTo>
                    <a:pt x="1196" y="1080"/>
                  </a:lnTo>
                  <a:lnTo>
                    <a:pt x="1186" y="1056"/>
                  </a:lnTo>
                  <a:lnTo>
                    <a:pt x="1178" y="1034"/>
                  </a:lnTo>
                  <a:lnTo>
                    <a:pt x="1170" y="1008"/>
                  </a:lnTo>
                  <a:lnTo>
                    <a:pt x="1166" y="982"/>
                  </a:lnTo>
                  <a:lnTo>
                    <a:pt x="1162" y="956"/>
                  </a:lnTo>
                  <a:lnTo>
                    <a:pt x="1162" y="928"/>
                  </a:lnTo>
                  <a:lnTo>
                    <a:pt x="1162" y="928"/>
                  </a:lnTo>
                  <a:lnTo>
                    <a:pt x="1162" y="900"/>
                  </a:lnTo>
                  <a:lnTo>
                    <a:pt x="1166" y="874"/>
                  </a:lnTo>
                  <a:lnTo>
                    <a:pt x="1170" y="848"/>
                  </a:lnTo>
                  <a:lnTo>
                    <a:pt x="1178" y="822"/>
                  </a:lnTo>
                  <a:lnTo>
                    <a:pt x="1186" y="798"/>
                  </a:lnTo>
                  <a:lnTo>
                    <a:pt x="1196" y="776"/>
                  </a:lnTo>
                  <a:lnTo>
                    <a:pt x="1208" y="756"/>
                  </a:lnTo>
                  <a:lnTo>
                    <a:pt x="1222" y="736"/>
                  </a:lnTo>
                  <a:lnTo>
                    <a:pt x="1236" y="718"/>
                  </a:lnTo>
                  <a:lnTo>
                    <a:pt x="1252" y="704"/>
                  </a:lnTo>
                  <a:lnTo>
                    <a:pt x="1268" y="690"/>
                  </a:lnTo>
                  <a:lnTo>
                    <a:pt x="1286" y="678"/>
                  </a:lnTo>
                  <a:lnTo>
                    <a:pt x="1304" y="670"/>
                  </a:lnTo>
                  <a:lnTo>
                    <a:pt x="1324" y="662"/>
                  </a:lnTo>
                  <a:lnTo>
                    <a:pt x="1344" y="658"/>
                  </a:lnTo>
                  <a:lnTo>
                    <a:pt x="1364" y="658"/>
                  </a:lnTo>
                  <a:lnTo>
                    <a:pt x="1364" y="658"/>
                  </a:lnTo>
                  <a:close/>
                </a:path>
              </a:pathLst>
            </a:custGeom>
            <a:solidFill>
              <a:srgbClr val="357FC2"/>
            </a:solidFill>
            <a:ln w="9525">
              <a:solidFill>
                <a:srgbClr val="6B98C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1" name="Freeform 5"/>
            <p:cNvSpPr>
              <a:spLocks/>
            </p:cNvSpPr>
            <p:nvPr/>
          </p:nvSpPr>
          <p:spPr bwMode="auto">
            <a:xfrm>
              <a:off x="3079470" y="1824373"/>
              <a:ext cx="6334749" cy="4623079"/>
            </a:xfrm>
            <a:custGeom>
              <a:avLst/>
              <a:gdLst/>
              <a:ahLst/>
              <a:cxnLst>
                <a:cxn ang="0">
                  <a:pos x="3002" y="664"/>
                </a:cxn>
                <a:cxn ang="0">
                  <a:pos x="2930" y="706"/>
                </a:cxn>
                <a:cxn ang="0">
                  <a:pos x="2832" y="788"/>
                </a:cxn>
                <a:cxn ang="0">
                  <a:pos x="2754" y="812"/>
                </a:cxn>
                <a:cxn ang="0">
                  <a:pos x="2696" y="802"/>
                </a:cxn>
                <a:cxn ang="0">
                  <a:pos x="2628" y="756"/>
                </a:cxn>
                <a:cxn ang="0">
                  <a:pos x="2580" y="680"/>
                </a:cxn>
                <a:cxn ang="0">
                  <a:pos x="2554" y="586"/>
                </a:cxn>
                <a:cxn ang="0">
                  <a:pos x="694" y="560"/>
                </a:cxn>
                <a:cxn ang="0">
                  <a:pos x="682" y="636"/>
                </a:cxn>
                <a:cxn ang="0">
                  <a:pos x="644" y="720"/>
                </a:cxn>
                <a:cxn ang="0">
                  <a:pos x="586" y="782"/>
                </a:cxn>
                <a:cxn ang="0">
                  <a:pos x="512" y="810"/>
                </a:cxn>
                <a:cxn ang="0">
                  <a:pos x="450" y="806"/>
                </a:cxn>
                <a:cxn ang="0">
                  <a:pos x="380" y="764"/>
                </a:cxn>
                <a:cxn ang="0">
                  <a:pos x="282" y="682"/>
                </a:cxn>
                <a:cxn ang="0">
                  <a:pos x="202" y="658"/>
                </a:cxn>
                <a:cxn ang="0">
                  <a:pos x="142" y="670"/>
                </a:cxn>
                <a:cxn ang="0">
                  <a:pos x="74" y="720"/>
                </a:cxn>
                <a:cxn ang="0">
                  <a:pos x="24" y="800"/>
                </a:cxn>
                <a:cxn ang="0">
                  <a:pos x="0" y="900"/>
                </a:cxn>
                <a:cxn ang="0">
                  <a:pos x="4" y="982"/>
                </a:cxn>
                <a:cxn ang="0">
                  <a:pos x="34" y="1080"/>
                </a:cxn>
                <a:cxn ang="0">
                  <a:pos x="88" y="1152"/>
                </a:cxn>
                <a:cxn ang="0">
                  <a:pos x="162" y="1194"/>
                </a:cxn>
                <a:cxn ang="0">
                  <a:pos x="224" y="1198"/>
                </a:cxn>
                <a:cxn ang="0">
                  <a:pos x="298" y="1162"/>
                </a:cxn>
                <a:cxn ang="0">
                  <a:pos x="396" y="1080"/>
                </a:cxn>
                <a:cxn ang="0">
                  <a:pos x="470" y="1046"/>
                </a:cxn>
                <a:cxn ang="0">
                  <a:pos x="532" y="1050"/>
                </a:cxn>
                <a:cxn ang="0">
                  <a:pos x="602" y="1086"/>
                </a:cxn>
                <a:cxn ang="0">
                  <a:pos x="656" y="1154"/>
                </a:cxn>
                <a:cxn ang="0">
                  <a:pos x="688" y="1246"/>
                </a:cxn>
                <a:cxn ang="0">
                  <a:pos x="2552" y="1856"/>
                </a:cxn>
                <a:cxn ang="0">
                  <a:pos x="2558" y="1246"/>
                </a:cxn>
                <a:cxn ang="0">
                  <a:pos x="2590" y="1156"/>
                </a:cxn>
                <a:cxn ang="0">
                  <a:pos x="2644" y="1088"/>
                </a:cxn>
                <a:cxn ang="0">
                  <a:pos x="2714" y="1050"/>
                </a:cxn>
                <a:cxn ang="0">
                  <a:pos x="2776" y="1046"/>
                </a:cxn>
                <a:cxn ang="0">
                  <a:pos x="2850" y="1080"/>
                </a:cxn>
                <a:cxn ang="0">
                  <a:pos x="2948" y="1162"/>
                </a:cxn>
                <a:cxn ang="0">
                  <a:pos x="3022" y="1198"/>
                </a:cxn>
                <a:cxn ang="0">
                  <a:pos x="3084" y="1194"/>
                </a:cxn>
                <a:cxn ang="0">
                  <a:pos x="3158" y="1152"/>
                </a:cxn>
                <a:cxn ang="0">
                  <a:pos x="3212" y="1080"/>
                </a:cxn>
                <a:cxn ang="0">
                  <a:pos x="3242" y="982"/>
                </a:cxn>
                <a:cxn ang="0">
                  <a:pos x="3246" y="900"/>
                </a:cxn>
                <a:cxn ang="0">
                  <a:pos x="3222" y="800"/>
                </a:cxn>
                <a:cxn ang="0">
                  <a:pos x="3172" y="720"/>
                </a:cxn>
                <a:cxn ang="0">
                  <a:pos x="3104" y="670"/>
                </a:cxn>
                <a:cxn ang="0">
                  <a:pos x="3044" y="658"/>
                </a:cxn>
              </a:cxnLst>
              <a:rect l="0" t="0" r="r" b="b"/>
              <a:pathLst>
                <a:path w="3246" h="1856">
                  <a:moveTo>
                    <a:pt x="3044" y="658"/>
                  </a:moveTo>
                  <a:lnTo>
                    <a:pt x="3044" y="658"/>
                  </a:lnTo>
                  <a:lnTo>
                    <a:pt x="3022" y="660"/>
                  </a:lnTo>
                  <a:lnTo>
                    <a:pt x="3002" y="664"/>
                  </a:lnTo>
                  <a:lnTo>
                    <a:pt x="2982" y="672"/>
                  </a:lnTo>
                  <a:lnTo>
                    <a:pt x="2964" y="682"/>
                  </a:lnTo>
                  <a:lnTo>
                    <a:pt x="2948" y="694"/>
                  </a:lnTo>
                  <a:lnTo>
                    <a:pt x="2930" y="706"/>
                  </a:lnTo>
                  <a:lnTo>
                    <a:pt x="2898" y="736"/>
                  </a:lnTo>
                  <a:lnTo>
                    <a:pt x="2866" y="764"/>
                  </a:lnTo>
                  <a:lnTo>
                    <a:pt x="2850" y="776"/>
                  </a:lnTo>
                  <a:lnTo>
                    <a:pt x="2832" y="788"/>
                  </a:lnTo>
                  <a:lnTo>
                    <a:pt x="2814" y="798"/>
                  </a:lnTo>
                  <a:lnTo>
                    <a:pt x="2796" y="806"/>
                  </a:lnTo>
                  <a:lnTo>
                    <a:pt x="2776" y="810"/>
                  </a:lnTo>
                  <a:lnTo>
                    <a:pt x="2754" y="812"/>
                  </a:lnTo>
                  <a:lnTo>
                    <a:pt x="2754" y="812"/>
                  </a:lnTo>
                  <a:lnTo>
                    <a:pt x="2734" y="812"/>
                  </a:lnTo>
                  <a:lnTo>
                    <a:pt x="2714" y="808"/>
                  </a:lnTo>
                  <a:lnTo>
                    <a:pt x="2696" y="802"/>
                  </a:lnTo>
                  <a:lnTo>
                    <a:pt x="2678" y="792"/>
                  </a:lnTo>
                  <a:lnTo>
                    <a:pt x="2660" y="782"/>
                  </a:lnTo>
                  <a:lnTo>
                    <a:pt x="2644" y="770"/>
                  </a:lnTo>
                  <a:lnTo>
                    <a:pt x="2628" y="756"/>
                  </a:lnTo>
                  <a:lnTo>
                    <a:pt x="2614" y="738"/>
                  </a:lnTo>
                  <a:lnTo>
                    <a:pt x="2602" y="722"/>
                  </a:lnTo>
                  <a:lnTo>
                    <a:pt x="2590" y="702"/>
                  </a:lnTo>
                  <a:lnTo>
                    <a:pt x="2580" y="680"/>
                  </a:lnTo>
                  <a:lnTo>
                    <a:pt x="2570" y="658"/>
                  </a:lnTo>
                  <a:lnTo>
                    <a:pt x="2564" y="636"/>
                  </a:lnTo>
                  <a:lnTo>
                    <a:pt x="2558" y="612"/>
                  </a:lnTo>
                  <a:lnTo>
                    <a:pt x="2554" y="586"/>
                  </a:lnTo>
                  <a:lnTo>
                    <a:pt x="2552" y="560"/>
                  </a:lnTo>
                  <a:lnTo>
                    <a:pt x="2552" y="0"/>
                  </a:lnTo>
                  <a:lnTo>
                    <a:pt x="694" y="0"/>
                  </a:lnTo>
                  <a:lnTo>
                    <a:pt x="694" y="560"/>
                  </a:lnTo>
                  <a:lnTo>
                    <a:pt x="694" y="560"/>
                  </a:lnTo>
                  <a:lnTo>
                    <a:pt x="692" y="586"/>
                  </a:lnTo>
                  <a:lnTo>
                    <a:pt x="688" y="610"/>
                  </a:lnTo>
                  <a:lnTo>
                    <a:pt x="682" y="636"/>
                  </a:lnTo>
                  <a:lnTo>
                    <a:pt x="676" y="658"/>
                  </a:lnTo>
                  <a:lnTo>
                    <a:pt x="666" y="680"/>
                  </a:lnTo>
                  <a:lnTo>
                    <a:pt x="656" y="702"/>
                  </a:lnTo>
                  <a:lnTo>
                    <a:pt x="644" y="720"/>
                  </a:lnTo>
                  <a:lnTo>
                    <a:pt x="632" y="738"/>
                  </a:lnTo>
                  <a:lnTo>
                    <a:pt x="618" y="756"/>
                  </a:lnTo>
                  <a:lnTo>
                    <a:pt x="602" y="770"/>
                  </a:lnTo>
                  <a:lnTo>
                    <a:pt x="586" y="782"/>
                  </a:lnTo>
                  <a:lnTo>
                    <a:pt x="568" y="792"/>
                  </a:lnTo>
                  <a:lnTo>
                    <a:pt x="550" y="802"/>
                  </a:lnTo>
                  <a:lnTo>
                    <a:pt x="532" y="808"/>
                  </a:lnTo>
                  <a:lnTo>
                    <a:pt x="512" y="810"/>
                  </a:lnTo>
                  <a:lnTo>
                    <a:pt x="492" y="812"/>
                  </a:lnTo>
                  <a:lnTo>
                    <a:pt x="492" y="812"/>
                  </a:lnTo>
                  <a:lnTo>
                    <a:pt x="470" y="810"/>
                  </a:lnTo>
                  <a:lnTo>
                    <a:pt x="450" y="806"/>
                  </a:lnTo>
                  <a:lnTo>
                    <a:pt x="432" y="798"/>
                  </a:lnTo>
                  <a:lnTo>
                    <a:pt x="414" y="788"/>
                  </a:lnTo>
                  <a:lnTo>
                    <a:pt x="396" y="776"/>
                  </a:lnTo>
                  <a:lnTo>
                    <a:pt x="380" y="764"/>
                  </a:lnTo>
                  <a:lnTo>
                    <a:pt x="348" y="734"/>
                  </a:lnTo>
                  <a:lnTo>
                    <a:pt x="316" y="706"/>
                  </a:lnTo>
                  <a:lnTo>
                    <a:pt x="298" y="694"/>
                  </a:lnTo>
                  <a:lnTo>
                    <a:pt x="282" y="682"/>
                  </a:lnTo>
                  <a:lnTo>
                    <a:pt x="264" y="672"/>
                  </a:lnTo>
                  <a:lnTo>
                    <a:pt x="244" y="664"/>
                  </a:lnTo>
                  <a:lnTo>
                    <a:pt x="224" y="660"/>
                  </a:lnTo>
                  <a:lnTo>
                    <a:pt x="202" y="658"/>
                  </a:lnTo>
                  <a:lnTo>
                    <a:pt x="202" y="658"/>
                  </a:lnTo>
                  <a:lnTo>
                    <a:pt x="182" y="660"/>
                  </a:lnTo>
                  <a:lnTo>
                    <a:pt x="162" y="664"/>
                  </a:lnTo>
                  <a:lnTo>
                    <a:pt x="142" y="670"/>
                  </a:lnTo>
                  <a:lnTo>
                    <a:pt x="124" y="678"/>
                  </a:lnTo>
                  <a:lnTo>
                    <a:pt x="106" y="690"/>
                  </a:lnTo>
                  <a:lnTo>
                    <a:pt x="88" y="704"/>
                  </a:lnTo>
                  <a:lnTo>
                    <a:pt x="74" y="720"/>
                  </a:lnTo>
                  <a:lnTo>
                    <a:pt x="58" y="736"/>
                  </a:lnTo>
                  <a:lnTo>
                    <a:pt x="46" y="756"/>
                  </a:lnTo>
                  <a:lnTo>
                    <a:pt x="34" y="776"/>
                  </a:lnTo>
                  <a:lnTo>
                    <a:pt x="24" y="800"/>
                  </a:lnTo>
                  <a:lnTo>
                    <a:pt x="16" y="822"/>
                  </a:lnTo>
                  <a:lnTo>
                    <a:pt x="8" y="848"/>
                  </a:lnTo>
                  <a:lnTo>
                    <a:pt x="4" y="874"/>
                  </a:lnTo>
                  <a:lnTo>
                    <a:pt x="0" y="900"/>
                  </a:lnTo>
                  <a:lnTo>
                    <a:pt x="0" y="928"/>
                  </a:lnTo>
                  <a:lnTo>
                    <a:pt x="0" y="928"/>
                  </a:lnTo>
                  <a:lnTo>
                    <a:pt x="0" y="956"/>
                  </a:lnTo>
                  <a:lnTo>
                    <a:pt x="4" y="982"/>
                  </a:lnTo>
                  <a:lnTo>
                    <a:pt x="8" y="1008"/>
                  </a:lnTo>
                  <a:lnTo>
                    <a:pt x="16" y="1034"/>
                  </a:lnTo>
                  <a:lnTo>
                    <a:pt x="24" y="1058"/>
                  </a:lnTo>
                  <a:lnTo>
                    <a:pt x="34" y="1080"/>
                  </a:lnTo>
                  <a:lnTo>
                    <a:pt x="46" y="1100"/>
                  </a:lnTo>
                  <a:lnTo>
                    <a:pt x="58" y="1120"/>
                  </a:lnTo>
                  <a:lnTo>
                    <a:pt x="74" y="1138"/>
                  </a:lnTo>
                  <a:lnTo>
                    <a:pt x="88" y="1152"/>
                  </a:lnTo>
                  <a:lnTo>
                    <a:pt x="106" y="1166"/>
                  </a:lnTo>
                  <a:lnTo>
                    <a:pt x="124" y="1178"/>
                  </a:lnTo>
                  <a:lnTo>
                    <a:pt x="142" y="1186"/>
                  </a:lnTo>
                  <a:lnTo>
                    <a:pt x="162" y="1194"/>
                  </a:lnTo>
                  <a:lnTo>
                    <a:pt x="182" y="1198"/>
                  </a:lnTo>
                  <a:lnTo>
                    <a:pt x="202" y="1198"/>
                  </a:lnTo>
                  <a:lnTo>
                    <a:pt x="202" y="1198"/>
                  </a:lnTo>
                  <a:lnTo>
                    <a:pt x="224" y="1198"/>
                  </a:lnTo>
                  <a:lnTo>
                    <a:pt x="244" y="1192"/>
                  </a:lnTo>
                  <a:lnTo>
                    <a:pt x="264" y="1184"/>
                  </a:lnTo>
                  <a:lnTo>
                    <a:pt x="282" y="1174"/>
                  </a:lnTo>
                  <a:lnTo>
                    <a:pt x="298" y="1162"/>
                  </a:lnTo>
                  <a:lnTo>
                    <a:pt x="316" y="1150"/>
                  </a:lnTo>
                  <a:lnTo>
                    <a:pt x="348" y="1122"/>
                  </a:lnTo>
                  <a:lnTo>
                    <a:pt x="380" y="1094"/>
                  </a:lnTo>
                  <a:lnTo>
                    <a:pt x="396" y="1080"/>
                  </a:lnTo>
                  <a:lnTo>
                    <a:pt x="414" y="1068"/>
                  </a:lnTo>
                  <a:lnTo>
                    <a:pt x="432" y="1058"/>
                  </a:lnTo>
                  <a:lnTo>
                    <a:pt x="450" y="1050"/>
                  </a:lnTo>
                  <a:lnTo>
                    <a:pt x="470" y="1046"/>
                  </a:lnTo>
                  <a:lnTo>
                    <a:pt x="492" y="1044"/>
                  </a:lnTo>
                  <a:lnTo>
                    <a:pt x="492" y="1044"/>
                  </a:lnTo>
                  <a:lnTo>
                    <a:pt x="512" y="1046"/>
                  </a:lnTo>
                  <a:lnTo>
                    <a:pt x="532" y="1050"/>
                  </a:lnTo>
                  <a:lnTo>
                    <a:pt x="550" y="1056"/>
                  </a:lnTo>
                  <a:lnTo>
                    <a:pt x="568" y="1064"/>
                  </a:lnTo>
                  <a:lnTo>
                    <a:pt x="586" y="1074"/>
                  </a:lnTo>
                  <a:lnTo>
                    <a:pt x="602" y="1086"/>
                  </a:lnTo>
                  <a:lnTo>
                    <a:pt x="618" y="1102"/>
                  </a:lnTo>
                  <a:lnTo>
                    <a:pt x="632" y="1118"/>
                  </a:lnTo>
                  <a:lnTo>
                    <a:pt x="644" y="1136"/>
                  </a:lnTo>
                  <a:lnTo>
                    <a:pt x="656" y="1154"/>
                  </a:lnTo>
                  <a:lnTo>
                    <a:pt x="666" y="1176"/>
                  </a:lnTo>
                  <a:lnTo>
                    <a:pt x="676" y="1198"/>
                  </a:lnTo>
                  <a:lnTo>
                    <a:pt x="682" y="1220"/>
                  </a:lnTo>
                  <a:lnTo>
                    <a:pt x="688" y="1246"/>
                  </a:lnTo>
                  <a:lnTo>
                    <a:pt x="692" y="1270"/>
                  </a:lnTo>
                  <a:lnTo>
                    <a:pt x="694" y="1296"/>
                  </a:lnTo>
                  <a:lnTo>
                    <a:pt x="694" y="1856"/>
                  </a:lnTo>
                  <a:lnTo>
                    <a:pt x="2552" y="1856"/>
                  </a:lnTo>
                  <a:lnTo>
                    <a:pt x="2552" y="1298"/>
                  </a:lnTo>
                  <a:lnTo>
                    <a:pt x="2552" y="1298"/>
                  </a:lnTo>
                  <a:lnTo>
                    <a:pt x="2554" y="1272"/>
                  </a:lnTo>
                  <a:lnTo>
                    <a:pt x="2558" y="1246"/>
                  </a:lnTo>
                  <a:lnTo>
                    <a:pt x="2564" y="1222"/>
                  </a:lnTo>
                  <a:lnTo>
                    <a:pt x="2570" y="1198"/>
                  </a:lnTo>
                  <a:lnTo>
                    <a:pt x="2580" y="1176"/>
                  </a:lnTo>
                  <a:lnTo>
                    <a:pt x="2590" y="1156"/>
                  </a:lnTo>
                  <a:lnTo>
                    <a:pt x="2602" y="1136"/>
                  </a:lnTo>
                  <a:lnTo>
                    <a:pt x="2614" y="1118"/>
                  </a:lnTo>
                  <a:lnTo>
                    <a:pt x="2628" y="1102"/>
                  </a:lnTo>
                  <a:lnTo>
                    <a:pt x="2644" y="1088"/>
                  </a:lnTo>
                  <a:lnTo>
                    <a:pt x="2660" y="1074"/>
                  </a:lnTo>
                  <a:lnTo>
                    <a:pt x="2678" y="1064"/>
                  </a:lnTo>
                  <a:lnTo>
                    <a:pt x="2696" y="1056"/>
                  </a:lnTo>
                  <a:lnTo>
                    <a:pt x="2714" y="1050"/>
                  </a:lnTo>
                  <a:lnTo>
                    <a:pt x="2734" y="1046"/>
                  </a:lnTo>
                  <a:lnTo>
                    <a:pt x="2754" y="1044"/>
                  </a:lnTo>
                  <a:lnTo>
                    <a:pt x="2754" y="1044"/>
                  </a:lnTo>
                  <a:lnTo>
                    <a:pt x="2776" y="1046"/>
                  </a:lnTo>
                  <a:lnTo>
                    <a:pt x="2796" y="1050"/>
                  </a:lnTo>
                  <a:lnTo>
                    <a:pt x="2814" y="1058"/>
                  </a:lnTo>
                  <a:lnTo>
                    <a:pt x="2832" y="1068"/>
                  </a:lnTo>
                  <a:lnTo>
                    <a:pt x="2850" y="1080"/>
                  </a:lnTo>
                  <a:lnTo>
                    <a:pt x="2866" y="1094"/>
                  </a:lnTo>
                  <a:lnTo>
                    <a:pt x="2898" y="1122"/>
                  </a:lnTo>
                  <a:lnTo>
                    <a:pt x="2930" y="1150"/>
                  </a:lnTo>
                  <a:lnTo>
                    <a:pt x="2948" y="1162"/>
                  </a:lnTo>
                  <a:lnTo>
                    <a:pt x="2964" y="1174"/>
                  </a:lnTo>
                  <a:lnTo>
                    <a:pt x="2982" y="1184"/>
                  </a:lnTo>
                  <a:lnTo>
                    <a:pt x="3002" y="1192"/>
                  </a:lnTo>
                  <a:lnTo>
                    <a:pt x="3022" y="1198"/>
                  </a:lnTo>
                  <a:lnTo>
                    <a:pt x="3044" y="1198"/>
                  </a:lnTo>
                  <a:lnTo>
                    <a:pt x="3044" y="1198"/>
                  </a:lnTo>
                  <a:lnTo>
                    <a:pt x="3064" y="1198"/>
                  </a:lnTo>
                  <a:lnTo>
                    <a:pt x="3084" y="1194"/>
                  </a:lnTo>
                  <a:lnTo>
                    <a:pt x="3104" y="1186"/>
                  </a:lnTo>
                  <a:lnTo>
                    <a:pt x="3122" y="1178"/>
                  </a:lnTo>
                  <a:lnTo>
                    <a:pt x="3140" y="1166"/>
                  </a:lnTo>
                  <a:lnTo>
                    <a:pt x="3158" y="1152"/>
                  </a:lnTo>
                  <a:lnTo>
                    <a:pt x="3172" y="1138"/>
                  </a:lnTo>
                  <a:lnTo>
                    <a:pt x="3188" y="1120"/>
                  </a:lnTo>
                  <a:lnTo>
                    <a:pt x="3200" y="1100"/>
                  </a:lnTo>
                  <a:lnTo>
                    <a:pt x="3212" y="1080"/>
                  </a:lnTo>
                  <a:lnTo>
                    <a:pt x="3222" y="1058"/>
                  </a:lnTo>
                  <a:lnTo>
                    <a:pt x="3230" y="1034"/>
                  </a:lnTo>
                  <a:lnTo>
                    <a:pt x="3238" y="1008"/>
                  </a:lnTo>
                  <a:lnTo>
                    <a:pt x="3242" y="982"/>
                  </a:lnTo>
                  <a:lnTo>
                    <a:pt x="3246" y="956"/>
                  </a:lnTo>
                  <a:lnTo>
                    <a:pt x="3246" y="928"/>
                  </a:lnTo>
                  <a:lnTo>
                    <a:pt x="3246" y="928"/>
                  </a:lnTo>
                  <a:lnTo>
                    <a:pt x="3246" y="900"/>
                  </a:lnTo>
                  <a:lnTo>
                    <a:pt x="3242" y="874"/>
                  </a:lnTo>
                  <a:lnTo>
                    <a:pt x="3238" y="848"/>
                  </a:lnTo>
                  <a:lnTo>
                    <a:pt x="3230" y="822"/>
                  </a:lnTo>
                  <a:lnTo>
                    <a:pt x="3222" y="800"/>
                  </a:lnTo>
                  <a:lnTo>
                    <a:pt x="3212" y="778"/>
                  </a:lnTo>
                  <a:lnTo>
                    <a:pt x="3200" y="756"/>
                  </a:lnTo>
                  <a:lnTo>
                    <a:pt x="3188" y="736"/>
                  </a:lnTo>
                  <a:lnTo>
                    <a:pt x="3172" y="720"/>
                  </a:lnTo>
                  <a:lnTo>
                    <a:pt x="3158" y="704"/>
                  </a:lnTo>
                  <a:lnTo>
                    <a:pt x="3140" y="690"/>
                  </a:lnTo>
                  <a:lnTo>
                    <a:pt x="3122" y="678"/>
                  </a:lnTo>
                  <a:lnTo>
                    <a:pt x="3104" y="670"/>
                  </a:lnTo>
                  <a:lnTo>
                    <a:pt x="3084" y="664"/>
                  </a:lnTo>
                  <a:lnTo>
                    <a:pt x="3064" y="660"/>
                  </a:lnTo>
                  <a:lnTo>
                    <a:pt x="3044" y="658"/>
                  </a:lnTo>
                  <a:lnTo>
                    <a:pt x="3044" y="658"/>
                  </a:lnTo>
                  <a:close/>
                </a:path>
              </a:pathLst>
            </a:custGeom>
            <a:solidFill>
              <a:schemeClr val="bg1">
                <a:lumMod val="85000"/>
              </a:schemeClr>
            </a:solidFill>
            <a:ln w="12700">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extrusionClr>
                <a:schemeClr val="tx2">
                  <a:lumMod val="60000"/>
                  <a:lumOff val="40000"/>
                </a:schemeClr>
              </a:extrusionClr>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2" name="Freeform 6"/>
            <p:cNvSpPr>
              <a:spLocks/>
            </p:cNvSpPr>
            <p:nvPr/>
          </p:nvSpPr>
          <p:spPr bwMode="auto">
            <a:xfrm>
              <a:off x="8059839" y="1824373"/>
              <a:ext cx="3622087" cy="4623079"/>
            </a:xfrm>
            <a:custGeom>
              <a:avLst/>
              <a:gdLst/>
              <a:ahLst/>
              <a:cxnLst>
                <a:cxn ang="0">
                  <a:pos x="1856" y="0"/>
                </a:cxn>
                <a:cxn ang="0">
                  <a:pos x="0" y="572"/>
                </a:cxn>
                <a:cxn ang="0">
                  <a:pos x="2" y="596"/>
                </a:cxn>
                <a:cxn ang="0">
                  <a:pos x="14" y="644"/>
                </a:cxn>
                <a:cxn ang="0">
                  <a:pos x="30" y="688"/>
                </a:cxn>
                <a:cxn ang="0">
                  <a:pos x="52" y="726"/>
                </a:cxn>
                <a:cxn ang="0">
                  <a:pos x="80" y="758"/>
                </a:cxn>
                <a:cxn ang="0">
                  <a:pos x="110" y="784"/>
                </a:cxn>
                <a:cxn ang="0">
                  <a:pos x="144" y="802"/>
                </a:cxn>
                <a:cxn ang="0">
                  <a:pos x="182" y="810"/>
                </a:cxn>
                <a:cxn ang="0">
                  <a:pos x="202" y="812"/>
                </a:cxn>
                <a:cxn ang="0">
                  <a:pos x="244" y="806"/>
                </a:cxn>
                <a:cxn ang="0">
                  <a:pos x="280" y="788"/>
                </a:cxn>
                <a:cxn ang="0">
                  <a:pos x="314" y="762"/>
                </a:cxn>
                <a:cxn ang="0">
                  <a:pos x="378" y="706"/>
                </a:cxn>
                <a:cxn ang="0">
                  <a:pos x="412" y="682"/>
                </a:cxn>
                <a:cxn ang="0">
                  <a:pos x="450" y="664"/>
                </a:cxn>
                <a:cxn ang="0">
                  <a:pos x="492" y="658"/>
                </a:cxn>
                <a:cxn ang="0">
                  <a:pos x="512" y="658"/>
                </a:cxn>
                <a:cxn ang="0">
                  <a:pos x="552" y="670"/>
                </a:cxn>
                <a:cxn ang="0">
                  <a:pos x="588" y="690"/>
                </a:cxn>
                <a:cxn ang="0">
                  <a:pos x="620" y="718"/>
                </a:cxn>
                <a:cxn ang="0">
                  <a:pos x="648" y="756"/>
                </a:cxn>
                <a:cxn ang="0">
                  <a:pos x="670" y="798"/>
                </a:cxn>
                <a:cxn ang="0">
                  <a:pos x="686" y="848"/>
                </a:cxn>
                <a:cxn ang="0">
                  <a:pos x="694" y="900"/>
                </a:cxn>
                <a:cxn ang="0">
                  <a:pos x="694" y="928"/>
                </a:cxn>
                <a:cxn ang="0">
                  <a:pos x="690" y="982"/>
                </a:cxn>
                <a:cxn ang="0">
                  <a:pos x="678" y="1034"/>
                </a:cxn>
                <a:cxn ang="0">
                  <a:pos x="660" y="1080"/>
                </a:cxn>
                <a:cxn ang="0">
                  <a:pos x="634" y="1120"/>
                </a:cxn>
                <a:cxn ang="0">
                  <a:pos x="604" y="1152"/>
                </a:cxn>
                <a:cxn ang="0">
                  <a:pos x="570" y="1178"/>
                </a:cxn>
                <a:cxn ang="0">
                  <a:pos x="532" y="1194"/>
                </a:cxn>
                <a:cxn ang="0">
                  <a:pos x="492" y="1198"/>
                </a:cxn>
                <a:cxn ang="0">
                  <a:pos x="470" y="1196"/>
                </a:cxn>
                <a:cxn ang="0">
                  <a:pos x="430" y="1184"/>
                </a:cxn>
                <a:cxn ang="0">
                  <a:pos x="394" y="1162"/>
                </a:cxn>
                <a:cxn ang="0">
                  <a:pos x="346" y="1122"/>
                </a:cxn>
                <a:cxn ang="0">
                  <a:pos x="298" y="1080"/>
                </a:cxn>
                <a:cxn ang="0">
                  <a:pos x="262" y="1058"/>
                </a:cxn>
                <a:cxn ang="0">
                  <a:pos x="222" y="1046"/>
                </a:cxn>
                <a:cxn ang="0">
                  <a:pos x="200" y="1044"/>
                </a:cxn>
                <a:cxn ang="0">
                  <a:pos x="162" y="1048"/>
                </a:cxn>
                <a:cxn ang="0">
                  <a:pos x="128" y="1062"/>
                </a:cxn>
                <a:cxn ang="0">
                  <a:pos x="94" y="1084"/>
                </a:cxn>
                <a:cxn ang="0">
                  <a:pos x="66" y="1114"/>
                </a:cxn>
                <a:cxn ang="0">
                  <a:pos x="40" y="1148"/>
                </a:cxn>
                <a:cxn ang="0">
                  <a:pos x="20" y="1190"/>
                </a:cxn>
                <a:cxn ang="0">
                  <a:pos x="6" y="1234"/>
                </a:cxn>
                <a:cxn ang="0">
                  <a:pos x="0" y="1284"/>
                </a:cxn>
                <a:cxn ang="0">
                  <a:pos x="1856" y="1856"/>
                </a:cxn>
                <a:cxn ang="0">
                  <a:pos x="1856" y="0"/>
                </a:cxn>
              </a:cxnLst>
              <a:rect l="0" t="0" r="r" b="b"/>
              <a:pathLst>
                <a:path w="1856" h="1856">
                  <a:moveTo>
                    <a:pt x="1856" y="0"/>
                  </a:moveTo>
                  <a:lnTo>
                    <a:pt x="1856" y="0"/>
                  </a:lnTo>
                  <a:lnTo>
                    <a:pt x="0" y="0"/>
                  </a:lnTo>
                  <a:lnTo>
                    <a:pt x="0" y="572"/>
                  </a:lnTo>
                  <a:lnTo>
                    <a:pt x="0" y="572"/>
                  </a:lnTo>
                  <a:lnTo>
                    <a:pt x="2" y="596"/>
                  </a:lnTo>
                  <a:lnTo>
                    <a:pt x="6" y="620"/>
                  </a:lnTo>
                  <a:lnTo>
                    <a:pt x="14" y="644"/>
                  </a:lnTo>
                  <a:lnTo>
                    <a:pt x="20" y="666"/>
                  </a:lnTo>
                  <a:lnTo>
                    <a:pt x="30" y="688"/>
                  </a:lnTo>
                  <a:lnTo>
                    <a:pt x="40" y="708"/>
                  </a:lnTo>
                  <a:lnTo>
                    <a:pt x="52" y="726"/>
                  </a:lnTo>
                  <a:lnTo>
                    <a:pt x="66" y="742"/>
                  </a:lnTo>
                  <a:lnTo>
                    <a:pt x="80" y="758"/>
                  </a:lnTo>
                  <a:lnTo>
                    <a:pt x="94" y="772"/>
                  </a:lnTo>
                  <a:lnTo>
                    <a:pt x="110" y="784"/>
                  </a:lnTo>
                  <a:lnTo>
                    <a:pt x="128" y="794"/>
                  </a:lnTo>
                  <a:lnTo>
                    <a:pt x="144" y="802"/>
                  </a:lnTo>
                  <a:lnTo>
                    <a:pt x="162" y="808"/>
                  </a:lnTo>
                  <a:lnTo>
                    <a:pt x="182" y="810"/>
                  </a:lnTo>
                  <a:lnTo>
                    <a:pt x="202" y="812"/>
                  </a:lnTo>
                  <a:lnTo>
                    <a:pt x="202" y="812"/>
                  </a:lnTo>
                  <a:lnTo>
                    <a:pt x="222" y="810"/>
                  </a:lnTo>
                  <a:lnTo>
                    <a:pt x="244" y="806"/>
                  </a:lnTo>
                  <a:lnTo>
                    <a:pt x="262" y="798"/>
                  </a:lnTo>
                  <a:lnTo>
                    <a:pt x="280" y="788"/>
                  </a:lnTo>
                  <a:lnTo>
                    <a:pt x="298" y="776"/>
                  </a:lnTo>
                  <a:lnTo>
                    <a:pt x="314" y="762"/>
                  </a:lnTo>
                  <a:lnTo>
                    <a:pt x="346" y="734"/>
                  </a:lnTo>
                  <a:lnTo>
                    <a:pt x="378" y="706"/>
                  </a:lnTo>
                  <a:lnTo>
                    <a:pt x="394" y="694"/>
                  </a:lnTo>
                  <a:lnTo>
                    <a:pt x="412" y="682"/>
                  </a:lnTo>
                  <a:lnTo>
                    <a:pt x="430" y="672"/>
                  </a:lnTo>
                  <a:lnTo>
                    <a:pt x="450" y="664"/>
                  </a:lnTo>
                  <a:lnTo>
                    <a:pt x="470" y="658"/>
                  </a:lnTo>
                  <a:lnTo>
                    <a:pt x="492" y="658"/>
                  </a:lnTo>
                  <a:lnTo>
                    <a:pt x="492" y="658"/>
                  </a:lnTo>
                  <a:lnTo>
                    <a:pt x="512" y="658"/>
                  </a:lnTo>
                  <a:lnTo>
                    <a:pt x="532" y="662"/>
                  </a:lnTo>
                  <a:lnTo>
                    <a:pt x="552" y="670"/>
                  </a:lnTo>
                  <a:lnTo>
                    <a:pt x="570" y="678"/>
                  </a:lnTo>
                  <a:lnTo>
                    <a:pt x="588" y="690"/>
                  </a:lnTo>
                  <a:lnTo>
                    <a:pt x="604" y="704"/>
                  </a:lnTo>
                  <a:lnTo>
                    <a:pt x="620" y="718"/>
                  </a:lnTo>
                  <a:lnTo>
                    <a:pt x="634" y="736"/>
                  </a:lnTo>
                  <a:lnTo>
                    <a:pt x="648" y="756"/>
                  </a:lnTo>
                  <a:lnTo>
                    <a:pt x="660" y="776"/>
                  </a:lnTo>
                  <a:lnTo>
                    <a:pt x="670" y="798"/>
                  </a:lnTo>
                  <a:lnTo>
                    <a:pt x="678" y="822"/>
                  </a:lnTo>
                  <a:lnTo>
                    <a:pt x="686" y="848"/>
                  </a:lnTo>
                  <a:lnTo>
                    <a:pt x="690" y="874"/>
                  </a:lnTo>
                  <a:lnTo>
                    <a:pt x="694" y="900"/>
                  </a:lnTo>
                  <a:lnTo>
                    <a:pt x="694" y="928"/>
                  </a:lnTo>
                  <a:lnTo>
                    <a:pt x="694" y="928"/>
                  </a:lnTo>
                  <a:lnTo>
                    <a:pt x="694" y="956"/>
                  </a:lnTo>
                  <a:lnTo>
                    <a:pt x="690" y="982"/>
                  </a:lnTo>
                  <a:lnTo>
                    <a:pt x="686" y="1008"/>
                  </a:lnTo>
                  <a:lnTo>
                    <a:pt x="678" y="1034"/>
                  </a:lnTo>
                  <a:lnTo>
                    <a:pt x="670" y="1056"/>
                  </a:lnTo>
                  <a:lnTo>
                    <a:pt x="660" y="1080"/>
                  </a:lnTo>
                  <a:lnTo>
                    <a:pt x="648" y="1100"/>
                  </a:lnTo>
                  <a:lnTo>
                    <a:pt x="634" y="1120"/>
                  </a:lnTo>
                  <a:lnTo>
                    <a:pt x="620" y="1136"/>
                  </a:lnTo>
                  <a:lnTo>
                    <a:pt x="604" y="1152"/>
                  </a:lnTo>
                  <a:lnTo>
                    <a:pt x="588" y="1166"/>
                  </a:lnTo>
                  <a:lnTo>
                    <a:pt x="570" y="1178"/>
                  </a:lnTo>
                  <a:lnTo>
                    <a:pt x="552" y="1186"/>
                  </a:lnTo>
                  <a:lnTo>
                    <a:pt x="532" y="1194"/>
                  </a:lnTo>
                  <a:lnTo>
                    <a:pt x="512" y="1198"/>
                  </a:lnTo>
                  <a:lnTo>
                    <a:pt x="492" y="1198"/>
                  </a:lnTo>
                  <a:lnTo>
                    <a:pt x="492" y="1198"/>
                  </a:lnTo>
                  <a:lnTo>
                    <a:pt x="470" y="1196"/>
                  </a:lnTo>
                  <a:lnTo>
                    <a:pt x="450" y="1192"/>
                  </a:lnTo>
                  <a:lnTo>
                    <a:pt x="430" y="1184"/>
                  </a:lnTo>
                  <a:lnTo>
                    <a:pt x="412" y="1174"/>
                  </a:lnTo>
                  <a:lnTo>
                    <a:pt x="394" y="1162"/>
                  </a:lnTo>
                  <a:lnTo>
                    <a:pt x="378" y="1150"/>
                  </a:lnTo>
                  <a:lnTo>
                    <a:pt x="346" y="1122"/>
                  </a:lnTo>
                  <a:lnTo>
                    <a:pt x="314" y="1092"/>
                  </a:lnTo>
                  <a:lnTo>
                    <a:pt x="298" y="1080"/>
                  </a:lnTo>
                  <a:lnTo>
                    <a:pt x="280" y="1068"/>
                  </a:lnTo>
                  <a:lnTo>
                    <a:pt x="262" y="1058"/>
                  </a:lnTo>
                  <a:lnTo>
                    <a:pt x="244" y="1050"/>
                  </a:lnTo>
                  <a:lnTo>
                    <a:pt x="222" y="1046"/>
                  </a:lnTo>
                  <a:lnTo>
                    <a:pt x="200" y="1044"/>
                  </a:lnTo>
                  <a:lnTo>
                    <a:pt x="200" y="1044"/>
                  </a:lnTo>
                  <a:lnTo>
                    <a:pt x="182" y="1046"/>
                  </a:lnTo>
                  <a:lnTo>
                    <a:pt x="162" y="1048"/>
                  </a:lnTo>
                  <a:lnTo>
                    <a:pt x="144" y="1054"/>
                  </a:lnTo>
                  <a:lnTo>
                    <a:pt x="128" y="1062"/>
                  </a:lnTo>
                  <a:lnTo>
                    <a:pt x="110" y="1072"/>
                  </a:lnTo>
                  <a:lnTo>
                    <a:pt x="94" y="1084"/>
                  </a:lnTo>
                  <a:lnTo>
                    <a:pt x="80" y="1098"/>
                  </a:lnTo>
                  <a:lnTo>
                    <a:pt x="66" y="1114"/>
                  </a:lnTo>
                  <a:lnTo>
                    <a:pt x="52" y="1130"/>
                  </a:lnTo>
                  <a:lnTo>
                    <a:pt x="40" y="1148"/>
                  </a:lnTo>
                  <a:lnTo>
                    <a:pt x="30" y="1168"/>
                  </a:lnTo>
                  <a:lnTo>
                    <a:pt x="20" y="1190"/>
                  </a:lnTo>
                  <a:lnTo>
                    <a:pt x="14" y="1212"/>
                  </a:lnTo>
                  <a:lnTo>
                    <a:pt x="6" y="1234"/>
                  </a:lnTo>
                  <a:lnTo>
                    <a:pt x="2" y="1258"/>
                  </a:lnTo>
                  <a:lnTo>
                    <a:pt x="0" y="1284"/>
                  </a:lnTo>
                  <a:lnTo>
                    <a:pt x="0" y="1856"/>
                  </a:lnTo>
                  <a:lnTo>
                    <a:pt x="1856" y="1856"/>
                  </a:lnTo>
                  <a:lnTo>
                    <a:pt x="1856" y="0"/>
                  </a:lnTo>
                  <a:lnTo>
                    <a:pt x="1856" y="0"/>
                  </a:lnTo>
                  <a:close/>
                </a:path>
              </a:pathLst>
            </a:custGeom>
            <a:solidFill>
              <a:schemeClr val="bg1">
                <a:lumMod val="85000"/>
              </a:schemeClr>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grpSp>
      <p:sp>
        <p:nvSpPr>
          <p:cNvPr id="12" name="TextBox 11"/>
          <p:cNvSpPr txBox="1"/>
          <p:nvPr/>
        </p:nvSpPr>
        <p:spPr>
          <a:xfrm>
            <a:off x="918460" y="2168613"/>
            <a:ext cx="3343311" cy="2276008"/>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bg1"/>
                </a:solidFill>
                <a:latin typeface="Calibri" panose="020F0502020204030204" pitchFamily="34" charset="0"/>
                <a:cs typeface="Calibri" panose="020F0502020204030204" pitchFamily="34" charset="0"/>
              </a:rPr>
              <a:t>Kuali</a:t>
            </a:r>
            <a:r>
              <a:rPr lang="en-US" sz="2800" b="1" dirty="0">
                <a:solidFill>
                  <a:schemeClr val="bg1"/>
                </a:solidFill>
                <a:latin typeface="Calibri" panose="020F0502020204030204" pitchFamily="34" charset="0"/>
                <a:cs typeface="Calibri" panose="020F0502020204030204" pitchFamily="34" charset="0"/>
              </a:rPr>
              <a:t> COI </a:t>
            </a:r>
          </a:p>
          <a:p>
            <a:pPr algn="ctr" eaLnBrk="0" fontAlgn="base" hangingPunct="0">
              <a:lnSpc>
                <a:spcPct val="85000"/>
              </a:lnSpc>
              <a:spcBef>
                <a:spcPct val="0"/>
              </a:spcBef>
              <a:spcAft>
                <a:spcPct val="0"/>
              </a:spcAft>
            </a:pPr>
            <a:r>
              <a:rPr lang="en-US" sz="1600" dirty="0">
                <a:solidFill>
                  <a:schemeClr val="bg1"/>
                </a:solidFill>
                <a:latin typeface="Calibri" panose="020F0502020204030204" pitchFamily="34" charset="0"/>
                <a:cs typeface="Calibri" panose="020F0502020204030204" pitchFamily="34" charset="0"/>
              </a:rPr>
              <a:t>Facilitates Electronic Disclosures</a:t>
            </a:r>
          </a:p>
          <a:p>
            <a:pPr algn="ctr" eaLnBrk="0" fontAlgn="base" hangingPunct="0">
              <a:lnSpc>
                <a:spcPct val="85000"/>
              </a:lnSpc>
              <a:spcBef>
                <a:spcPct val="0"/>
              </a:spcBef>
              <a:spcAft>
                <a:spcPct val="0"/>
              </a:spcAft>
            </a:pPr>
            <a:r>
              <a:rPr lang="en-US" sz="1400" dirty="0">
                <a:solidFill>
                  <a:schemeClr val="bg1"/>
                </a:solidFill>
                <a:latin typeface="Calibri" panose="020F0502020204030204" pitchFamily="34" charset="0"/>
                <a:cs typeface="Calibri" panose="020F0502020204030204" pitchFamily="34" charset="0"/>
              </a:rPr>
              <a:t>(replacing paper/PDF process)</a:t>
            </a:r>
          </a:p>
          <a:p>
            <a:pPr eaLnBrk="0" fontAlgn="base" hangingPunct="0">
              <a:lnSpc>
                <a:spcPct val="85000"/>
              </a:lnSpc>
              <a:spcBef>
                <a:spcPct val="0"/>
              </a:spcBef>
              <a:spcAft>
                <a:spcPct val="0"/>
              </a:spcAft>
            </a:pPr>
            <a:endParaRPr lang="en-US" sz="1600"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dirty="0">
                <a:solidFill>
                  <a:schemeClr val="bg1"/>
                </a:solidFill>
                <a:latin typeface="Calibri" panose="020F0502020204030204" pitchFamily="34" charset="0"/>
                <a:cs typeface="Calibri" panose="020F0502020204030204" pitchFamily="34" charset="0"/>
              </a:rPr>
              <a:t>Covers the following form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PH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700U</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9510</a:t>
            </a:r>
          </a:p>
          <a:p>
            <a:pPr algn="ctr" eaLnBrk="0" fontAlgn="base" hangingPunct="0">
              <a:lnSpc>
                <a:spcPct val="85000"/>
              </a:lnSpc>
              <a:spcBef>
                <a:spcPct val="0"/>
              </a:spcBef>
              <a:spcAft>
                <a:spcPct val="0"/>
              </a:spcAft>
            </a:pPr>
            <a:endParaRPr lang="en-US" sz="1600" dirty="0">
              <a:solidFill>
                <a:schemeClr val="bg1"/>
              </a:solidFill>
              <a:latin typeface="Arial Narrow" pitchFamily="34" charset="0"/>
              <a:cs typeface="Arial" pitchFamily="34" charset="0"/>
            </a:endParaRPr>
          </a:p>
        </p:txBody>
      </p:sp>
      <p:sp>
        <p:nvSpPr>
          <p:cNvPr id="13" name="TextBox 12"/>
          <p:cNvSpPr txBox="1"/>
          <p:nvPr/>
        </p:nvSpPr>
        <p:spPr>
          <a:xfrm>
            <a:off x="4647654" y="1943683"/>
            <a:ext cx="3198379" cy="3488647"/>
          </a:xfrm>
          <a:prstGeom prst="rect">
            <a:avLst/>
          </a:prstGeom>
          <a:noFill/>
          <a:effectLst/>
        </p:spPr>
        <p:txBody>
          <a:bodyPr wrap="square" rtlCol="0">
            <a:spAutoFit/>
          </a:bodyPr>
          <a:lstStyle/>
          <a:p>
            <a:pPr algn="ctr" eaLnBrk="0" fontAlgn="base" hangingPunct="0">
              <a:spcBef>
                <a:spcPct val="0"/>
              </a:spcBef>
              <a:spcAft>
                <a:spcPct val="0"/>
              </a:spcAft>
            </a:pPr>
            <a:r>
              <a:rPr lang="en-US" sz="3200" b="1" dirty="0" err="1">
                <a:solidFill>
                  <a:schemeClr val="bg1">
                    <a:lumMod val="65000"/>
                  </a:schemeClr>
                </a:solidFill>
                <a:latin typeface="Calibri" panose="020F0502020204030204" pitchFamily="34" charset="0"/>
                <a:cs typeface="Calibri" panose="020F0502020204030204" pitchFamily="34" charset="0"/>
              </a:rPr>
              <a:t>Kuali</a:t>
            </a:r>
            <a:r>
              <a:rPr lang="en-US" sz="3200" b="1" dirty="0">
                <a:solidFill>
                  <a:schemeClr val="bg1">
                    <a:lumMod val="65000"/>
                  </a:schemeClr>
                </a:solidFill>
                <a:latin typeface="Calibri" panose="020F0502020204030204" pitchFamily="34" charset="0"/>
                <a:cs typeface="Calibri" panose="020F0502020204030204" pitchFamily="34" charset="0"/>
              </a:rPr>
              <a:t> Research</a:t>
            </a:r>
          </a:p>
          <a:p>
            <a:pPr algn="ctr" eaLnBrk="0" fontAlgn="base" hangingPunct="0">
              <a:lnSpc>
                <a:spcPct val="85000"/>
              </a:lnSpc>
              <a:spcBef>
                <a:spcPct val="0"/>
              </a:spcBef>
              <a:spcAft>
                <a:spcPct val="0"/>
              </a:spcAft>
            </a:pPr>
            <a:r>
              <a:rPr lang="en-US" sz="1600" dirty="0">
                <a:solidFill>
                  <a:schemeClr val="bg1">
                    <a:lumMod val="65000"/>
                  </a:schemeClr>
                </a:solidFill>
                <a:latin typeface="Calibri" panose="020F0502020204030204" pitchFamily="34" charset="0"/>
                <a:cs typeface="Calibri" panose="020F0502020204030204" pitchFamily="34" charset="0"/>
              </a:rPr>
              <a:t>Sponsored Programs Modules</a:t>
            </a:r>
          </a:p>
          <a:p>
            <a:pPr algn="ctr" eaLnBrk="0" fontAlgn="base" hangingPunct="0">
              <a:lnSpc>
                <a:spcPct val="85000"/>
              </a:lnSpc>
              <a:spcBef>
                <a:spcPct val="0"/>
              </a:spcBef>
              <a:spcAft>
                <a:spcPct val="0"/>
              </a:spcAft>
            </a:pPr>
            <a:r>
              <a:rPr lang="en-US" sz="1200" dirty="0">
                <a:solidFill>
                  <a:schemeClr val="bg1">
                    <a:lumMod val="65000"/>
                  </a:schemeClr>
                </a:solidFill>
                <a:latin typeface="Calibri" panose="020F0502020204030204" pitchFamily="34" charset="0"/>
                <a:cs typeface="Calibri" panose="020F0502020204030204" pitchFamily="34" charset="0"/>
              </a:rPr>
              <a:t>(</a:t>
            </a:r>
            <a:r>
              <a:rPr lang="en-US" sz="1400" dirty="0">
                <a:solidFill>
                  <a:schemeClr val="bg1">
                    <a:lumMod val="65000"/>
                  </a:schemeClr>
                </a:solidFill>
                <a:latin typeface="Calibri" panose="020F0502020204030204" pitchFamily="34" charset="0"/>
                <a:cs typeface="Calibri" panose="020F0502020204030204" pitchFamily="34" charset="0"/>
              </a:rPr>
              <a:t>replacing EPD, </a:t>
            </a:r>
            <a:r>
              <a:rPr lang="en-US" sz="1400" dirty="0" err="1">
                <a:solidFill>
                  <a:schemeClr val="bg1">
                    <a:lumMod val="65000"/>
                  </a:schemeClr>
                </a:solidFill>
                <a:latin typeface="Calibri" panose="020F0502020204030204" pitchFamily="34" charset="0"/>
                <a:cs typeface="Calibri" panose="020F0502020204030204" pitchFamily="34" charset="0"/>
              </a:rPr>
              <a:t>Coeus</a:t>
            </a:r>
            <a:r>
              <a:rPr lang="en-US" sz="1400" dirty="0">
                <a:solidFill>
                  <a:schemeClr val="bg1">
                    <a:lumMod val="65000"/>
                  </a:schemeClr>
                </a:solidFill>
                <a:latin typeface="Calibri" panose="020F0502020204030204" pitchFamily="34" charset="0"/>
                <a:cs typeface="Calibri" panose="020F0502020204030204" pitchFamily="34" charset="0"/>
              </a:rPr>
              <a:t> IP, </a:t>
            </a:r>
            <a:r>
              <a:rPr lang="en-US" sz="1400" dirty="0" err="1">
                <a:solidFill>
                  <a:schemeClr val="bg1">
                    <a:lumMod val="65000"/>
                  </a:schemeClr>
                </a:solidFill>
                <a:latin typeface="Calibri" panose="020F0502020204030204" pitchFamily="34" charset="0"/>
                <a:cs typeface="Calibri" panose="020F0502020204030204" pitchFamily="34" charset="0"/>
              </a:rPr>
              <a:t>Coeus</a:t>
            </a:r>
            <a:r>
              <a:rPr lang="en-US" sz="1400" dirty="0">
                <a:solidFill>
                  <a:schemeClr val="bg1">
                    <a:lumMod val="65000"/>
                  </a:schemeClr>
                </a:solidFill>
                <a:latin typeface="Calibri" panose="020F0502020204030204" pitchFamily="34" charset="0"/>
                <a:cs typeface="Calibri" panose="020F0502020204030204" pitchFamily="34" charset="0"/>
              </a:rPr>
              <a:t> Award)</a:t>
            </a:r>
          </a:p>
          <a:p>
            <a:pPr eaLnBrk="0" fontAlgn="base" hangingPunct="0">
              <a:lnSpc>
                <a:spcPct val="85000"/>
              </a:lnSpc>
              <a:spcBef>
                <a:spcPct val="0"/>
              </a:spcBef>
              <a:spcAft>
                <a:spcPct val="0"/>
              </a:spcAft>
            </a:pPr>
            <a:endParaRPr lang="en-US" sz="1600"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endParaRPr lang="en-US" sz="1600"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lumMod val="65000"/>
                  </a:schemeClr>
                </a:solidFill>
                <a:latin typeface="Calibri" panose="020F0502020204030204" pitchFamily="34" charset="0"/>
                <a:cs typeface="Calibri" panose="020F0502020204030204" pitchFamily="34" charset="0"/>
              </a:rPr>
              <a:t>Pre-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Proposal Development* *</a:t>
            </a:r>
            <a:r>
              <a:rPr lang="en-US" sz="1600" dirty="0">
                <a:solidFill>
                  <a:schemeClr val="bg1">
                    <a:lumMod val="65000"/>
                  </a:schemeClr>
                </a:solidFill>
                <a:latin typeface="Calibri" panose="020F0502020204030204" pitchFamily="34" charset="0"/>
                <a:cs typeface="Calibri" panose="020F0502020204030204" pitchFamily="34" charset="0"/>
              </a:rPr>
              <a:t>(includes the KR Dashbo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Institutional Proposal</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Negotiations</a:t>
            </a:r>
          </a:p>
          <a:p>
            <a:pPr eaLnBrk="0" fontAlgn="base" hangingPunct="0">
              <a:lnSpc>
                <a:spcPct val="85000"/>
              </a:lnSpc>
              <a:spcBef>
                <a:spcPct val="0"/>
              </a:spcBef>
              <a:spcAft>
                <a:spcPct val="0"/>
              </a:spcAft>
            </a:pPr>
            <a:endParaRPr lang="en-US"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lumMod val="65000"/>
                  </a:schemeClr>
                </a:solidFill>
                <a:latin typeface="Calibri" panose="020F0502020204030204" pitchFamily="34" charset="0"/>
                <a:cs typeface="Calibri" panose="020F0502020204030204" pitchFamily="34" charset="0"/>
              </a:rPr>
              <a:t>Pos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Subaward</a:t>
            </a:r>
          </a:p>
        </p:txBody>
      </p:sp>
      <p:sp>
        <p:nvSpPr>
          <p:cNvPr id="14" name="TextBox 13"/>
          <p:cNvSpPr txBox="1"/>
          <p:nvPr/>
        </p:nvSpPr>
        <p:spPr>
          <a:xfrm>
            <a:off x="8068375" y="2186151"/>
            <a:ext cx="3613551" cy="978729"/>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bg1">
                    <a:lumMod val="65000"/>
                  </a:schemeClr>
                </a:solidFill>
                <a:latin typeface="Calibri" panose="020F0502020204030204" pitchFamily="34" charset="0"/>
                <a:cs typeface="Calibri" panose="020F0502020204030204" pitchFamily="34" charset="0"/>
              </a:rPr>
              <a:t>Kuali</a:t>
            </a:r>
            <a:r>
              <a:rPr lang="en-US" sz="2800" b="1" dirty="0">
                <a:solidFill>
                  <a:schemeClr val="bg1">
                    <a:lumMod val="65000"/>
                  </a:schemeClr>
                </a:solidFill>
                <a:latin typeface="Calibri" panose="020F0502020204030204" pitchFamily="34" charset="0"/>
                <a:cs typeface="Calibri" panose="020F0502020204030204" pitchFamily="34" charset="0"/>
              </a:rPr>
              <a:t> Protocols *new*</a:t>
            </a:r>
          </a:p>
          <a:p>
            <a:pPr algn="ctr" eaLnBrk="0" fontAlgn="base" hangingPunct="0">
              <a:spcBef>
                <a:spcPct val="0"/>
              </a:spcBef>
              <a:spcAft>
                <a:spcPct val="0"/>
              </a:spcAft>
            </a:pPr>
            <a:r>
              <a:rPr lang="en-US" sz="1600" dirty="0">
                <a:solidFill>
                  <a:schemeClr val="bg1">
                    <a:lumMod val="65000"/>
                  </a:schemeClr>
                </a:solidFill>
                <a:latin typeface="Calibri" panose="020F0502020204030204" pitchFamily="34" charset="0"/>
                <a:cs typeface="Calibri" panose="020F0502020204030204" pitchFamily="34" charset="0"/>
              </a:rPr>
              <a:t>Human Subjects Protocols</a:t>
            </a:r>
          </a:p>
          <a:p>
            <a:pPr algn="ctr" eaLnBrk="0" fontAlgn="base" hangingPunct="0">
              <a:lnSpc>
                <a:spcPct val="85000"/>
              </a:lnSpc>
              <a:spcBef>
                <a:spcPct val="0"/>
              </a:spcBef>
              <a:spcAft>
                <a:spcPct val="0"/>
              </a:spcAft>
            </a:pPr>
            <a:r>
              <a:rPr lang="en-US" sz="1400" dirty="0">
                <a:solidFill>
                  <a:schemeClr val="bg1">
                    <a:lumMod val="65000"/>
                  </a:schemeClr>
                </a:solidFill>
                <a:latin typeface="Calibri" panose="020F0502020204030204" pitchFamily="34" charset="0"/>
                <a:cs typeface="Calibri" panose="020F0502020204030204" pitchFamily="34" charset="0"/>
              </a:rPr>
              <a:t>(replacing legacy system)</a:t>
            </a:r>
          </a:p>
        </p:txBody>
      </p:sp>
      <p:sp>
        <p:nvSpPr>
          <p:cNvPr id="3" name="TextBox 2"/>
          <p:cNvSpPr txBox="1"/>
          <p:nvPr/>
        </p:nvSpPr>
        <p:spPr>
          <a:xfrm>
            <a:off x="1042710" y="5966987"/>
            <a:ext cx="3165396" cy="338554"/>
          </a:xfrm>
          <a:prstGeom prst="rect">
            <a:avLst/>
          </a:prstGeom>
          <a:noFill/>
        </p:spPr>
        <p:txBody>
          <a:bodyPr wrap="square" rtlCol="0">
            <a:spAutoFit/>
          </a:bodyPr>
          <a:lstStyle/>
          <a:p>
            <a:r>
              <a:rPr lang="en-US" sz="1600" b="1" dirty="0">
                <a:solidFill>
                  <a:schemeClr val="bg1"/>
                </a:solidFill>
                <a:latin typeface="Calibri" panose="020F0502020204030204" pitchFamily="34" charset="0"/>
                <a:cs typeface="Calibri" panose="020F0502020204030204" pitchFamily="34" charset="0"/>
              </a:rPr>
              <a:t>Project Sponsor: </a:t>
            </a:r>
            <a:r>
              <a:rPr lang="en-US" sz="1600" dirty="0">
                <a:solidFill>
                  <a:schemeClr val="bg1"/>
                </a:solidFill>
                <a:latin typeface="Calibri" panose="020F0502020204030204" pitchFamily="34" charset="0"/>
                <a:cs typeface="Calibri" panose="020F0502020204030204" pitchFamily="34" charset="0"/>
              </a:rPr>
              <a:t>Sandra A. Brown</a:t>
            </a:r>
          </a:p>
        </p:txBody>
      </p:sp>
      <p:sp>
        <p:nvSpPr>
          <p:cNvPr id="10" name="TextBox 9"/>
          <p:cNvSpPr txBox="1"/>
          <p:nvPr/>
        </p:nvSpPr>
        <p:spPr>
          <a:xfrm>
            <a:off x="4537115" y="5985771"/>
            <a:ext cx="3165396" cy="338554"/>
          </a:xfrm>
          <a:prstGeom prst="rect">
            <a:avLst/>
          </a:prstGeom>
          <a:noFill/>
        </p:spPr>
        <p:txBody>
          <a:bodyPr wrap="square" rtlCol="0">
            <a:spAutoFit/>
          </a:bodyPr>
          <a:lstStyle/>
          <a:p>
            <a:r>
              <a:rPr lang="en-US" sz="1600" b="1" dirty="0">
                <a:solidFill>
                  <a:schemeClr val="bg1">
                    <a:lumMod val="65000"/>
                  </a:schemeClr>
                </a:solidFill>
              </a:rPr>
              <a:t>Project Sponsor: </a:t>
            </a:r>
            <a:r>
              <a:rPr lang="en-US" sz="1600" dirty="0">
                <a:solidFill>
                  <a:schemeClr val="bg1">
                    <a:lumMod val="65000"/>
                  </a:schemeClr>
                </a:solidFill>
              </a:rPr>
              <a:t>Sandra A. Brown</a:t>
            </a:r>
          </a:p>
        </p:txBody>
      </p:sp>
      <p:sp>
        <p:nvSpPr>
          <p:cNvPr id="11" name="TextBox 10"/>
          <p:cNvSpPr txBox="1"/>
          <p:nvPr/>
        </p:nvSpPr>
        <p:spPr>
          <a:xfrm>
            <a:off x="8199872" y="5962382"/>
            <a:ext cx="3165396" cy="338554"/>
          </a:xfrm>
          <a:prstGeom prst="rect">
            <a:avLst/>
          </a:prstGeom>
          <a:noFill/>
        </p:spPr>
        <p:txBody>
          <a:bodyPr wrap="square" rtlCol="0">
            <a:spAutoFit/>
          </a:bodyPr>
          <a:lstStyle/>
          <a:p>
            <a:r>
              <a:rPr lang="en-US" sz="1600" b="1" dirty="0">
                <a:solidFill>
                  <a:schemeClr val="bg1">
                    <a:lumMod val="65000"/>
                  </a:schemeClr>
                </a:solidFill>
              </a:rPr>
              <a:t>Project Sponsor: </a:t>
            </a:r>
            <a:r>
              <a:rPr lang="en-US" sz="1600" dirty="0">
                <a:solidFill>
                  <a:schemeClr val="bg1">
                    <a:lumMod val="65000"/>
                  </a:schemeClr>
                </a:solidFill>
              </a:rPr>
              <a:t>Gary Firestein</a:t>
            </a:r>
          </a:p>
        </p:txBody>
      </p:sp>
      <p:sp>
        <p:nvSpPr>
          <p:cNvPr id="4" name="Title 3"/>
          <p:cNvSpPr>
            <a:spLocks noGrp="1"/>
          </p:cNvSpPr>
          <p:nvPr>
            <p:ph type="title"/>
          </p:nvPr>
        </p:nvSpPr>
        <p:spPr/>
        <p:txBody>
          <a:bodyPr/>
          <a:lstStyle/>
          <a:p>
            <a:r>
              <a:rPr lang="en-US" dirty="0" err="1"/>
              <a:t>Kuali</a:t>
            </a:r>
            <a:r>
              <a:rPr lang="en-US" dirty="0"/>
              <a:t> Initiatives at UC San Diego</a:t>
            </a:r>
          </a:p>
        </p:txBody>
      </p:sp>
      <p:sp>
        <p:nvSpPr>
          <p:cNvPr id="6" name="Text Placeholder 5"/>
          <p:cNvSpPr>
            <a:spLocks noGrp="1"/>
          </p:cNvSpPr>
          <p:nvPr>
            <p:ph type="body" sz="quarter" idx="13"/>
          </p:nvPr>
        </p:nvSpPr>
        <p:spPr/>
        <p:txBody>
          <a:bodyPr/>
          <a:lstStyle/>
          <a:p>
            <a:r>
              <a:rPr lang="en-US" dirty="0"/>
              <a:t>ESR </a:t>
            </a:r>
            <a:r>
              <a:rPr lang="en-US" dirty="0" err="1"/>
              <a:t>Kuali</a:t>
            </a:r>
            <a:r>
              <a:rPr lang="en-US" dirty="0"/>
              <a:t> project updates</a:t>
            </a:r>
          </a:p>
        </p:txBody>
      </p:sp>
      <p:sp>
        <p:nvSpPr>
          <p:cNvPr id="15" name="Rectangle 14"/>
          <p:cNvSpPr/>
          <p:nvPr/>
        </p:nvSpPr>
        <p:spPr>
          <a:xfrm>
            <a:off x="9341708" y="3164880"/>
            <a:ext cx="2233522" cy="2862322"/>
          </a:xfrm>
          <a:prstGeom prst="rect">
            <a:avLst/>
          </a:prstGeom>
        </p:spPr>
        <p:txBody>
          <a:bodyPr wrap="square">
            <a:spAutoFit/>
          </a:bodyPr>
          <a:lstStyle/>
          <a:p>
            <a:pPr marL="285750" indent="-285750">
              <a:buFont typeface="Arial" panose="020B0604020202020204" pitchFamily="34" charset="0"/>
              <a:buChar char="•"/>
            </a:pPr>
            <a:r>
              <a:rPr lang="en-US" dirty="0">
                <a:solidFill>
                  <a:srgbClr val="BFBFBF"/>
                </a:solidFill>
              </a:rPr>
              <a:t>PIs prepare and submit</a:t>
            </a:r>
          </a:p>
          <a:p>
            <a:pPr marL="742950" lvl="1" indent="-285750">
              <a:buFont typeface="Arial" panose="020B0604020202020204" pitchFamily="34" charset="0"/>
              <a:buChar char="•"/>
            </a:pPr>
            <a:r>
              <a:rPr lang="en-US" dirty="0">
                <a:solidFill>
                  <a:srgbClr val="BFBFBF"/>
                </a:solidFill>
              </a:rPr>
              <a:t>New Studies</a:t>
            </a:r>
          </a:p>
          <a:p>
            <a:pPr marL="742950" lvl="1" indent="-285750">
              <a:buFont typeface="Arial" panose="020B0604020202020204" pitchFamily="34" charset="0"/>
              <a:buChar char="•"/>
            </a:pPr>
            <a:r>
              <a:rPr lang="en-US" dirty="0">
                <a:solidFill>
                  <a:srgbClr val="BFBFBF"/>
                </a:solidFill>
              </a:rPr>
              <a:t>Modifications</a:t>
            </a:r>
          </a:p>
          <a:p>
            <a:pPr marL="742950" lvl="1" indent="-285750">
              <a:buFont typeface="Arial" panose="020B0604020202020204" pitchFamily="34" charset="0"/>
              <a:buChar char="•"/>
            </a:pPr>
            <a:r>
              <a:rPr lang="en-US" dirty="0">
                <a:solidFill>
                  <a:srgbClr val="BFBFBF"/>
                </a:solidFill>
              </a:rPr>
              <a:t>Renewals</a:t>
            </a:r>
          </a:p>
          <a:p>
            <a:pPr marL="742950" lvl="1" indent="-285750">
              <a:buFont typeface="Arial" panose="020B0604020202020204" pitchFamily="34" charset="0"/>
              <a:buChar char="•"/>
            </a:pPr>
            <a:r>
              <a:rPr lang="en-US" dirty="0">
                <a:solidFill>
                  <a:srgbClr val="BFBFBF"/>
                </a:solidFill>
              </a:rPr>
              <a:t>Reports</a:t>
            </a:r>
          </a:p>
          <a:p>
            <a:pPr marL="285750" indent="-285750">
              <a:buFont typeface="Arial" panose="020B0604020202020204" pitchFamily="34" charset="0"/>
              <a:buChar char="•"/>
            </a:pPr>
            <a:r>
              <a:rPr lang="en-US" dirty="0">
                <a:solidFill>
                  <a:srgbClr val="BFBFBF"/>
                </a:solidFill>
              </a:rPr>
              <a:t>For review by</a:t>
            </a:r>
          </a:p>
          <a:p>
            <a:pPr marL="742950" lvl="1" indent="-285750">
              <a:buFont typeface="Arial" panose="020B0604020202020204" pitchFamily="34" charset="0"/>
              <a:buChar char="•"/>
            </a:pPr>
            <a:r>
              <a:rPr lang="en-US" dirty="0">
                <a:solidFill>
                  <a:srgbClr val="BFBFBF"/>
                </a:solidFill>
              </a:rPr>
              <a:t>IRBs</a:t>
            </a:r>
          </a:p>
          <a:p>
            <a:pPr marL="742950" lvl="1" indent="-285750">
              <a:buFont typeface="Arial" panose="020B0604020202020204" pitchFamily="34" charset="0"/>
              <a:buChar char="•"/>
            </a:pPr>
            <a:r>
              <a:rPr lang="en-US" dirty="0">
                <a:solidFill>
                  <a:srgbClr val="BFBFBF"/>
                </a:solidFill>
              </a:rPr>
              <a:t>SCRO</a:t>
            </a:r>
          </a:p>
          <a:p>
            <a:pPr marL="742950" lvl="1" indent="-285750">
              <a:buFont typeface="Arial" panose="020B0604020202020204" pitchFamily="34" charset="0"/>
              <a:buChar char="•"/>
            </a:pPr>
            <a:r>
              <a:rPr lang="en-US" dirty="0">
                <a:solidFill>
                  <a:srgbClr val="BFBFBF"/>
                </a:solidFill>
              </a:rPr>
              <a:t>HRPP</a:t>
            </a:r>
          </a:p>
        </p:txBody>
      </p:sp>
    </p:spTree>
    <p:extLst>
      <p:ext uri="{BB962C8B-B14F-4D97-AF65-F5344CB8AC3E}">
        <p14:creationId xmlns:p14="http://schemas.microsoft.com/office/powerpoint/2010/main" val="397009863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a:t>Kuali COI </a:t>
            </a:r>
          </a:p>
        </p:txBody>
      </p:sp>
      <p:sp>
        <p:nvSpPr>
          <p:cNvPr id="3" name="Text Placeholder 2"/>
          <p:cNvSpPr>
            <a:spLocks noGrp="1"/>
          </p:cNvSpPr>
          <p:nvPr>
            <p:ph type="body" sz="quarter" idx="13"/>
          </p:nvPr>
        </p:nvSpPr>
        <p:spPr/>
        <p:txBody>
          <a:bodyPr/>
          <a:lstStyle/>
          <a:p>
            <a:r>
              <a:rPr lang="en-US" dirty="0"/>
              <a:t>Project Time Line and Updates</a:t>
            </a:r>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solidFill>
                  <a:srgbClr val="A5A5A5"/>
                </a:solidFill>
              </a:rPr>
              <a:pPr/>
              <a:t>47</a:t>
            </a:fld>
            <a:endParaRPr lang="en-US" dirty="0">
              <a:solidFill>
                <a:srgbClr val="A5A5A5"/>
              </a:solidFill>
            </a:endParaRPr>
          </a:p>
        </p:txBody>
      </p:sp>
      <p:sp>
        <p:nvSpPr>
          <p:cNvPr id="11" name="TextBox 10"/>
          <p:cNvSpPr txBox="1"/>
          <p:nvPr/>
        </p:nvSpPr>
        <p:spPr>
          <a:xfrm>
            <a:off x="2640560" y="1608874"/>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a:solidFill>
                  <a:srgbClr val="05BFD5"/>
                </a:solidFill>
              </a:rPr>
              <a:t>We are here</a:t>
            </a:r>
          </a:p>
        </p:txBody>
      </p:sp>
      <p:cxnSp>
        <p:nvCxnSpPr>
          <p:cNvPr id="18" name="Elbow Connector 17"/>
          <p:cNvCxnSpPr>
            <a:stCxn id="11" idx="1"/>
          </p:cNvCxnSpPr>
          <p:nvPr/>
        </p:nvCxnSpPr>
        <p:spPr>
          <a:xfrm rot="10800000" flipV="1">
            <a:off x="2359530" y="1793540"/>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7" name="TextBox 6"/>
          <p:cNvSpPr txBox="1"/>
          <p:nvPr/>
        </p:nvSpPr>
        <p:spPr>
          <a:xfrm>
            <a:off x="4256574" y="3579691"/>
            <a:ext cx="3969906" cy="3139321"/>
          </a:xfrm>
          <a:prstGeom prst="rect">
            <a:avLst/>
          </a:prstGeom>
          <a:noFill/>
        </p:spPr>
        <p:txBody>
          <a:bodyPr wrap="square" rtlCol="0">
            <a:spAutoFit/>
          </a:bodyPr>
          <a:lstStyle/>
          <a:p>
            <a:pPr marL="285750" indent="-285750">
              <a:buFont typeface="Arial" panose="020B0604020202020204" pitchFamily="34" charset="0"/>
              <a:buChar char="•"/>
            </a:pPr>
            <a:r>
              <a:rPr lang="en-US" sz="1500" dirty="0">
                <a:solidFill>
                  <a:schemeClr val="tx2"/>
                </a:solidFill>
              </a:rPr>
              <a:t>Integrative approach</a:t>
            </a:r>
          </a:p>
          <a:p>
            <a:pPr marL="742950" lvl="1" indent="-285750">
              <a:buFont typeface="Arial" panose="020B0604020202020204" pitchFamily="34" charset="0"/>
              <a:buChar char="•"/>
            </a:pPr>
            <a:r>
              <a:rPr lang="en-US" sz="1500" dirty="0">
                <a:solidFill>
                  <a:schemeClr val="tx2"/>
                </a:solidFill>
              </a:rPr>
              <a:t>Business Process Analysis and Featured Enhancement</a:t>
            </a:r>
          </a:p>
          <a:p>
            <a:pPr marL="1200150" lvl="2" indent="-285750">
              <a:buFont typeface="Arial" panose="020B0604020202020204" pitchFamily="34" charset="0"/>
              <a:buChar char="•"/>
            </a:pPr>
            <a:r>
              <a:rPr lang="en-US" sz="1500" dirty="0">
                <a:solidFill>
                  <a:schemeClr val="tx2"/>
                </a:solidFill>
              </a:rPr>
              <a:t>Configuration: Proof of Concept</a:t>
            </a:r>
          </a:p>
          <a:p>
            <a:pPr marL="285750" indent="-285750">
              <a:buFont typeface="Arial" panose="020B0604020202020204" pitchFamily="34" charset="0"/>
              <a:buChar char="•"/>
            </a:pPr>
            <a:endParaRPr lang="en-US" sz="1500" dirty="0">
              <a:solidFill>
                <a:schemeClr val="tx2"/>
              </a:solidFill>
            </a:endParaRPr>
          </a:p>
          <a:p>
            <a:pPr marL="285750" indent="-285750">
              <a:buFont typeface="Arial" panose="020B0604020202020204" pitchFamily="34" charset="0"/>
              <a:buChar char="•"/>
            </a:pPr>
            <a:r>
              <a:rPr lang="en-US" sz="1500" dirty="0">
                <a:solidFill>
                  <a:schemeClr val="tx2"/>
                </a:solidFill>
              </a:rPr>
              <a:t>Obtaining access to sandbox</a:t>
            </a:r>
          </a:p>
          <a:p>
            <a:pPr marL="285750" indent="-285750">
              <a:buFont typeface="Arial" panose="020B0604020202020204" pitchFamily="34" charset="0"/>
              <a:buChar char="•"/>
            </a:pPr>
            <a:endParaRPr lang="en-US" sz="1500" dirty="0">
              <a:solidFill>
                <a:schemeClr val="tx2"/>
              </a:solidFill>
            </a:endParaRPr>
          </a:p>
          <a:p>
            <a:pPr marL="285750" indent="-285750">
              <a:buFont typeface="Arial" panose="020B0604020202020204" pitchFamily="34" charset="0"/>
              <a:buChar char="•"/>
            </a:pPr>
            <a:r>
              <a:rPr lang="en-US" sz="1500" dirty="0">
                <a:solidFill>
                  <a:schemeClr val="tx2"/>
                </a:solidFill>
              </a:rPr>
              <a:t>Developing combined Training Plan with KR and Kuali IRB</a:t>
            </a:r>
          </a:p>
          <a:p>
            <a:pPr marL="285750" indent="-285750">
              <a:buFont typeface="Arial" panose="020B0604020202020204" pitchFamily="34" charset="0"/>
              <a:buChar char="•"/>
            </a:pPr>
            <a:endParaRPr lang="en-US" sz="1500" dirty="0">
              <a:solidFill>
                <a:schemeClr val="tx2"/>
              </a:solidFill>
            </a:endParaRPr>
          </a:p>
          <a:p>
            <a:pPr marL="285750" indent="-285750">
              <a:buFont typeface="Arial" panose="020B0604020202020204" pitchFamily="34" charset="0"/>
              <a:buChar char="•"/>
            </a:pPr>
            <a:r>
              <a:rPr lang="en-US" sz="1500" dirty="0">
                <a:solidFill>
                  <a:schemeClr val="tx2"/>
                </a:solidFill>
              </a:rPr>
              <a:t>ESR Training as Change Practitioner (organizational change management)</a:t>
            </a:r>
          </a:p>
          <a:p>
            <a:endParaRPr lang="en-US" dirty="0">
              <a:solidFill>
                <a:srgbClr val="05BFD5"/>
              </a:solidFill>
            </a:endParaRPr>
          </a:p>
        </p:txBody>
      </p:sp>
      <p:sp>
        <p:nvSpPr>
          <p:cNvPr id="19" name="TextBox 18"/>
          <p:cNvSpPr txBox="1"/>
          <p:nvPr/>
        </p:nvSpPr>
        <p:spPr>
          <a:xfrm>
            <a:off x="356561" y="2705290"/>
            <a:ext cx="1176746" cy="253916"/>
          </a:xfrm>
          <a:prstGeom prst="rect">
            <a:avLst/>
          </a:prstGeom>
          <a:noFill/>
        </p:spPr>
        <p:txBody>
          <a:bodyPr wrap="square" rtlCol="0">
            <a:spAutoFit/>
          </a:bodyPr>
          <a:lstStyle/>
          <a:p>
            <a:pPr algn="ctr"/>
            <a:r>
              <a:rPr lang="en-US" sz="1050" dirty="0">
                <a:solidFill>
                  <a:schemeClr val="bg1">
                    <a:lumMod val="50000"/>
                  </a:schemeClr>
                </a:solidFill>
              </a:rPr>
              <a:t>Nov – Dec 2018</a:t>
            </a:r>
          </a:p>
        </p:txBody>
      </p:sp>
      <p:sp>
        <p:nvSpPr>
          <p:cNvPr id="20" name="TextBox 19"/>
          <p:cNvSpPr txBox="1"/>
          <p:nvPr/>
        </p:nvSpPr>
        <p:spPr>
          <a:xfrm>
            <a:off x="1612884" y="2705290"/>
            <a:ext cx="1176746" cy="253916"/>
          </a:xfrm>
          <a:prstGeom prst="rect">
            <a:avLst/>
          </a:prstGeom>
          <a:noFill/>
        </p:spPr>
        <p:txBody>
          <a:bodyPr wrap="square" rtlCol="0">
            <a:spAutoFit/>
          </a:bodyPr>
          <a:lstStyle/>
          <a:p>
            <a:pPr algn="ctr"/>
            <a:r>
              <a:rPr lang="en-US" sz="1050" dirty="0">
                <a:solidFill>
                  <a:schemeClr val="accent2"/>
                </a:solidFill>
              </a:rPr>
              <a:t>Jan – Mar 2019</a:t>
            </a:r>
          </a:p>
        </p:txBody>
      </p:sp>
      <p:sp>
        <p:nvSpPr>
          <p:cNvPr id="23" name="TextBox 22"/>
          <p:cNvSpPr txBox="1"/>
          <p:nvPr/>
        </p:nvSpPr>
        <p:spPr>
          <a:xfrm>
            <a:off x="2768421" y="2709334"/>
            <a:ext cx="1335900" cy="253916"/>
          </a:xfrm>
          <a:prstGeom prst="rect">
            <a:avLst/>
          </a:prstGeom>
          <a:noFill/>
        </p:spPr>
        <p:txBody>
          <a:bodyPr wrap="square" rtlCol="0">
            <a:spAutoFit/>
          </a:bodyPr>
          <a:lstStyle/>
          <a:p>
            <a:pPr algn="ctr"/>
            <a:r>
              <a:rPr lang="en-US" sz="1050" dirty="0">
                <a:solidFill>
                  <a:schemeClr val="accent2"/>
                </a:solidFill>
              </a:rPr>
              <a:t>Apr – Jun 2019</a:t>
            </a:r>
          </a:p>
        </p:txBody>
      </p:sp>
      <p:sp>
        <p:nvSpPr>
          <p:cNvPr id="24" name="TextBox 23"/>
          <p:cNvSpPr txBox="1"/>
          <p:nvPr/>
        </p:nvSpPr>
        <p:spPr>
          <a:xfrm>
            <a:off x="4024744" y="2709334"/>
            <a:ext cx="1335900" cy="253916"/>
          </a:xfrm>
          <a:prstGeom prst="rect">
            <a:avLst/>
          </a:prstGeom>
          <a:noFill/>
        </p:spPr>
        <p:txBody>
          <a:bodyPr wrap="square" rtlCol="0">
            <a:spAutoFit/>
          </a:bodyPr>
          <a:lstStyle/>
          <a:p>
            <a:pPr algn="ctr"/>
            <a:r>
              <a:rPr lang="en-US" sz="1050" dirty="0">
                <a:solidFill>
                  <a:schemeClr val="bg1">
                    <a:lumMod val="50000"/>
                  </a:schemeClr>
                </a:solidFill>
              </a:rPr>
              <a:t>Jul – Sept 2019</a:t>
            </a:r>
          </a:p>
        </p:txBody>
      </p:sp>
      <p:sp>
        <p:nvSpPr>
          <p:cNvPr id="25" name="TextBox 24"/>
          <p:cNvSpPr txBox="1"/>
          <p:nvPr/>
        </p:nvSpPr>
        <p:spPr>
          <a:xfrm>
            <a:off x="5381853" y="2709334"/>
            <a:ext cx="1176746" cy="253916"/>
          </a:xfrm>
          <a:prstGeom prst="rect">
            <a:avLst/>
          </a:prstGeom>
          <a:noFill/>
        </p:spPr>
        <p:txBody>
          <a:bodyPr wrap="square" rtlCol="0">
            <a:spAutoFit/>
          </a:bodyPr>
          <a:lstStyle/>
          <a:p>
            <a:pPr algn="ctr"/>
            <a:r>
              <a:rPr lang="en-US" sz="1050" dirty="0">
                <a:solidFill>
                  <a:schemeClr val="bg1">
                    <a:lumMod val="50000"/>
                  </a:schemeClr>
                </a:solidFill>
              </a:rPr>
              <a:t>Oct – Nov 2019</a:t>
            </a:r>
          </a:p>
        </p:txBody>
      </p:sp>
      <p:sp>
        <p:nvSpPr>
          <p:cNvPr id="26" name="TextBox 25"/>
          <p:cNvSpPr txBox="1"/>
          <p:nvPr/>
        </p:nvSpPr>
        <p:spPr>
          <a:xfrm>
            <a:off x="6638176" y="2702218"/>
            <a:ext cx="1176746" cy="253916"/>
          </a:xfrm>
          <a:prstGeom prst="rect">
            <a:avLst/>
          </a:prstGeom>
          <a:noFill/>
        </p:spPr>
        <p:txBody>
          <a:bodyPr wrap="square" rtlCol="0">
            <a:spAutoFit/>
          </a:bodyPr>
          <a:lstStyle/>
          <a:p>
            <a:pPr algn="ctr"/>
            <a:r>
              <a:rPr lang="en-US" sz="1050" dirty="0">
                <a:solidFill>
                  <a:schemeClr val="bg1">
                    <a:lumMod val="50000"/>
                  </a:schemeClr>
                </a:solidFill>
              </a:rPr>
              <a:t>Sept – Nov 2019</a:t>
            </a:r>
          </a:p>
        </p:txBody>
      </p:sp>
      <p:sp>
        <p:nvSpPr>
          <p:cNvPr id="27" name="TextBox 26"/>
          <p:cNvSpPr txBox="1"/>
          <p:nvPr/>
        </p:nvSpPr>
        <p:spPr>
          <a:xfrm>
            <a:off x="7814922" y="2709333"/>
            <a:ext cx="1256323" cy="253916"/>
          </a:xfrm>
          <a:prstGeom prst="rect">
            <a:avLst/>
          </a:prstGeom>
          <a:noFill/>
        </p:spPr>
        <p:txBody>
          <a:bodyPr wrap="square" rtlCol="0">
            <a:spAutoFit/>
          </a:bodyPr>
          <a:lstStyle/>
          <a:p>
            <a:pPr algn="ctr"/>
            <a:r>
              <a:rPr lang="en-US" sz="1050" dirty="0" smtClean="0">
                <a:solidFill>
                  <a:schemeClr val="accent2"/>
                </a:solidFill>
              </a:rPr>
              <a:t>Jan 2020</a:t>
            </a:r>
            <a:endParaRPr lang="en-US" sz="1050" dirty="0">
              <a:solidFill>
                <a:schemeClr val="accent2"/>
              </a:solidFill>
            </a:endParaRPr>
          </a:p>
        </p:txBody>
      </p:sp>
      <p:sp>
        <p:nvSpPr>
          <p:cNvPr id="32" name="TextBox 31"/>
          <p:cNvSpPr txBox="1"/>
          <p:nvPr/>
        </p:nvSpPr>
        <p:spPr>
          <a:xfrm>
            <a:off x="9150822" y="2709334"/>
            <a:ext cx="1176746" cy="253916"/>
          </a:xfrm>
          <a:prstGeom prst="rect">
            <a:avLst/>
          </a:prstGeom>
          <a:noFill/>
        </p:spPr>
        <p:txBody>
          <a:bodyPr wrap="square" rtlCol="0">
            <a:spAutoFit/>
          </a:bodyPr>
          <a:lstStyle/>
          <a:p>
            <a:pPr algn="ctr"/>
            <a:r>
              <a:rPr lang="en-US" sz="1050" dirty="0">
                <a:solidFill>
                  <a:schemeClr val="bg1">
                    <a:lumMod val="50000"/>
                  </a:schemeClr>
                </a:solidFill>
              </a:rPr>
              <a:t>Jan – Mar 2020</a:t>
            </a:r>
          </a:p>
        </p:txBody>
      </p:sp>
      <p:sp>
        <p:nvSpPr>
          <p:cNvPr id="33" name="TextBox 32"/>
          <p:cNvSpPr txBox="1"/>
          <p:nvPr/>
        </p:nvSpPr>
        <p:spPr>
          <a:xfrm>
            <a:off x="10407145" y="2702218"/>
            <a:ext cx="1176746" cy="253916"/>
          </a:xfrm>
          <a:prstGeom prst="rect">
            <a:avLst/>
          </a:prstGeom>
          <a:noFill/>
        </p:spPr>
        <p:txBody>
          <a:bodyPr wrap="square" rtlCol="0">
            <a:spAutoFit/>
          </a:bodyPr>
          <a:lstStyle/>
          <a:p>
            <a:pPr algn="ctr"/>
            <a:r>
              <a:rPr lang="en-US" sz="1050" dirty="0">
                <a:solidFill>
                  <a:schemeClr val="bg1">
                    <a:lumMod val="50000"/>
                  </a:schemeClr>
                </a:solidFill>
              </a:rPr>
              <a:t>Apr – Jun 2020</a:t>
            </a:r>
          </a:p>
        </p:txBody>
      </p:sp>
      <p:sp>
        <p:nvSpPr>
          <p:cNvPr id="21" name="TextBox 20"/>
          <p:cNvSpPr txBox="1"/>
          <p:nvPr/>
        </p:nvSpPr>
        <p:spPr>
          <a:xfrm>
            <a:off x="8400833" y="3579691"/>
            <a:ext cx="3183057" cy="2862322"/>
          </a:xfrm>
          <a:prstGeom prst="rect">
            <a:avLst/>
          </a:prstGeom>
          <a:noFill/>
        </p:spPr>
        <p:txBody>
          <a:bodyPr wrap="square" rtlCol="0">
            <a:spAutoFit/>
          </a:bodyPr>
          <a:lstStyle/>
          <a:p>
            <a:pPr marL="285750" indent="-285750">
              <a:buFont typeface="Arial" panose="020B0604020202020204" pitchFamily="34" charset="0"/>
              <a:buChar char="•"/>
            </a:pPr>
            <a:r>
              <a:rPr lang="en-US" sz="1500" b="1" dirty="0">
                <a:solidFill>
                  <a:schemeClr val="tx2"/>
                </a:solidFill>
              </a:rPr>
              <a:t>March 1, 2019: </a:t>
            </a:r>
            <a:r>
              <a:rPr lang="en-US" sz="1500" dirty="0">
                <a:solidFill>
                  <a:schemeClr val="tx2"/>
                </a:solidFill>
              </a:rPr>
              <a:t>Document Form Specification for Current Functionality</a:t>
            </a:r>
          </a:p>
          <a:p>
            <a:pPr marL="285750" indent="-285750">
              <a:buFont typeface="Arial" panose="020B0604020202020204" pitchFamily="34" charset="0"/>
              <a:buChar char="•"/>
            </a:pPr>
            <a:endParaRPr lang="en-US" sz="1500" dirty="0">
              <a:solidFill>
                <a:schemeClr val="tx2"/>
              </a:solidFill>
            </a:endParaRPr>
          </a:p>
          <a:p>
            <a:pPr marL="285750" indent="-285750">
              <a:buFont typeface="Arial" panose="020B0604020202020204" pitchFamily="34" charset="0"/>
              <a:buChar char="•"/>
            </a:pPr>
            <a:r>
              <a:rPr lang="en-US" sz="1500" b="1" dirty="0">
                <a:solidFill>
                  <a:schemeClr val="tx2"/>
                </a:solidFill>
              </a:rPr>
              <a:t>March 30, 2019</a:t>
            </a:r>
            <a:r>
              <a:rPr lang="en-US" sz="1500" dirty="0">
                <a:solidFill>
                  <a:schemeClr val="tx2"/>
                </a:solidFill>
              </a:rPr>
              <a:t>: Delivery of March feature enhancements (C7, C8, C9) for testing</a:t>
            </a:r>
          </a:p>
          <a:p>
            <a:pPr marL="285750" indent="-285750">
              <a:buFont typeface="Arial" panose="020B0604020202020204" pitchFamily="34" charset="0"/>
              <a:buChar char="•"/>
            </a:pPr>
            <a:endParaRPr lang="en-US" sz="1500" dirty="0">
              <a:solidFill>
                <a:schemeClr val="tx2"/>
              </a:solidFill>
            </a:endParaRPr>
          </a:p>
          <a:p>
            <a:pPr marL="285750" indent="-285750">
              <a:buFont typeface="Arial" panose="020B0604020202020204" pitchFamily="34" charset="0"/>
              <a:buChar char="•"/>
            </a:pPr>
            <a:r>
              <a:rPr lang="en-US" sz="1500" b="1" dirty="0">
                <a:solidFill>
                  <a:schemeClr val="tx2"/>
                </a:solidFill>
              </a:rPr>
              <a:t>April 1, 2019: </a:t>
            </a:r>
            <a:r>
              <a:rPr lang="en-US" sz="1500" dirty="0">
                <a:solidFill>
                  <a:schemeClr val="tx2"/>
                </a:solidFill>
              </a:rPr>
              <a:t>Assess project schedule with the ESR Kuali Sponsored project</a:t>
            </a:r>
          </a:p>
          <a:p>
            <a:pPr marL="285750" indent="-285750">
              <a:buFont typeface="Arial" panose="020B0604020202020204" pitchFamily="34" charset="0"/>
              <a:buChar char="•"/>
            </a:pPr>
            <a:endParaRPr lang="en-US" sz="1500" dirty="0">
              <a:solidFill>
                <a:schemeClr val="tx2"/>
              </a:solidFill>
            </a:endParaRPr>
          </a:p>
        </p:txBody>
      </p:sp>
      <p:sp>
        <p:nvSpPr>
          <p:cNvPr id="22" name="TextBox 21"/>
          <p:cNvSpPr txBox="1"/>
          <p:nvPr/>
        </p:nvSpPr>
        <p:spPr>
          <a:xfrm>
            <a:off x="467496" y="3599390"/>
            <a:ext cx="3356401" cy="3093154"/>
          </a:xfrm>
          <a:prstGeom prst="rect">
            <a:avLst/>
          </a:prstGeom>
          <a:noFill/>
        </p:spPr>
        <p:txBody>
          <a:bodyPr wrap="square" rtlCol="0">
            <a:spAutoFit/>
          </a:bodyPr>
          <a:lstStyle/>
          <a:p>
            <a:r>
              <a:rPr lang="en-US" sz="1500" b="1" dirty="0">
                <a:solidFill>
                  <a:schemeClr val="tx2"/>
                </a:solidFill>
              </a:rPr>
              <a:t>Kuali Project Manager </a:t>
            </a:r>
          </a:p>
          <a:p>
            <a:pPr marL="285750" indent="-285750">
              <a:buFont typeface="Arial" panose="020B0604020202020204" pitchFamily="34" charset="0"/>
              <a:buChar char="•"/>
            </a:pPr>
            <a:r>
              <a:rPr lang="en-US" sz="1500" dirty="0">
                <a:solidFill>
                  <a:schemeClr val="tx2"/>
                </a:solidFill>
              </a:rPr>
              <a:t>Weekly: Business Process</a:t>
            </a:r>
          </a:p>
          <a:p>
            <a:r>
              <a:rPr lang="en-US" sz="1500" b="1" dirty="0">
                <a:solidFill>
                  <a:schemeClr val="tx2"/>
                </a:solidFill>
              </a:rPr>
              <a:t>Kuali Compliance Product Manager</a:t>
            </a:r>
          </a:p>
          <a:p>
            <a:pPr marL="285750" indent="-285750">
              <a:buFont typeface="Arial" panose="020B0604020202020204" pitchFamily="34" charset="0"/>
              <a:buChar char="•"/>
            </a:pPr>
            <a:r>
              <a:rPr lang="en-US" sz="1500" dirty="0">
                <a:solidFill>
                  <a:schemeClr val="tx2"/>
                </a:solidFill>
              </a:rPr>
              <a:t>Weekly: Featured Enhancements</a:t>
            </a:r>
          </a:p>
          <a:p>
            <a:r>
              <a:rPr lang="en-US" sz="1500" b="1" dirty="0">
                <a:solidFill>
                  <a:schemeClr val="tx2"/>
                </a:solidFill>
              </a:rPr>
              <a:t>ITS Project Manager </a:t>
            </a:r>
          </a:p>
          <a:p>
            <a:pPr marL="285750" indent="-285750">
              <a:buFont typeface="Arial" panose="020B0604020202020204" pitchFamily="34" charset="0"/>
              <a:buChar char="•"/>
            </a:pPr>
            <a:r>
              <a:rPr lang="en-US" sz="1500" dirty="0">
                <a:solidFill>
                  <a:schemeClr val="tx2"/>
                </a:solidFill>
              </a:rPr>
              <a:t>Weekly: Progress and risks</a:t>
            </a:r>
          </a:p>
          <a:p>
            <a:r>
              <a:rPr lang="en-US" sz="1500" b="1" dirty="0">
                <a:solidFill>
                  <a:schemeClr val="tx2"/>
                </a:solidFill>
              </a:rPr>
              <a:t>Change Practitioner (SOCM) </a:t>
            </a:r>
          </a:p>
          <a:p>
            <a:pPr marL="285750" indent="-285750">
              <a:buFont typeface="Arial" panose="020B0604020202020204" pitchFamily="34" charset="0"/>
              <a:buChar char="•"/>
            </a:pPr>
            <a:r>
              <a:rPr lang="en-US" sz="1500" dirty="0">
                <a:solidFill>
                  <a:schemeClr val="tx2"/>
                </a:solidFill>
              </a:rPr>
              <a:t>Bimonthly </a:t>
            </a:r>
          </a:p>
          <a:p>
            <a:r>
              <a:rPr lang="en-US" sz="1500" b="1" dirty="0">
                <a:solidFill>
                  <a:schemeClr val="tx2"/>
                </a:solidFill>
              </a:rPr>
              <a:t>Governance </a:t>
            </a:r>
          </a:p>
          <a:p>
            <a:pPr marL="285750" indent="-285750">
              <a:buFont typeface="Arial" panose="020B0604020202020204" pitchFamily="34" charset="0"/>
              <a:buChar char="•"/>
            </a:pPr>
            <a:r>
              <a:rPr lang="en-US" sz="1500" dirty="0">
                <a:solidFill>
                  <a:schemeClr val="tx2"/>
                </a:solidFill>
              </a:rPr>
              <a:t>Monthly</a:t>
            </a:r>
          </a:p>
          <a:p>
            <a:r>
              <a:rPr lang="en-US" sz="1500" b="1" dirty="0">
                <a:solidFill>
                  <a:schemeClr val="tx2"/>
                </a:solidFill>
              </a:rPr>
              <a:t>Sponsor</a:t>
            </a:r>
          </a:p>
          <a:p>
            <a:pPr marL="285750" indent="-285750">
              <a:buFont typeface="Arial" panose="020B0604020202020204" pitchFamily="34" charset="0"/>
              <a:buChar char="•"/>
            </a:pPr>
            <a:r>
              <a:rPr lang="en-US" sz="1500" dirty="0">
                <a:solidFill>
                  <a:schemeClr val="tx2"/>
                </a:solidFill>
              </a:rPr>
              <a:t>Monthly</a:t>
            </a:r>
          </a:p>
          <a:p>
            <a:endParaRPr lang="en-US" sz="1500" dirty="0">
              <a:solidFill>
                <a:schemeClr val="tx2"/>
              </a:solidFill>
            </a:endParaRPr>
          </a:p>
        </p:txBody>
      </p:sp>
      <p:cxnSp>
        <p:nvCxnSpPr>
          <p:cNvPr id="28" name="Straight Connector 27"/>
          <p:cNvCxnSpPr/>
          <p:nvPr/>
        </p:nvCxnSpPr>
        <p:spPr>
          <a:xfrm flipV="1">
            <a:off x="4104321" y="3637834"/>
            <a:ext cx="0" cy="266566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8227764" y="3607482"/>
            <a:ext cx="0" cy="266566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67496" y="3238150"/>
            <a:ext cx="3456111" cy="369332"/>
          </a:xfrm>
          <a:prstGeom prst="rect">
            <a:avLst/>
          </a:prstGeom>
          <a:noFill/>
        </p:spPr>
        <p:txBody>
          <a:bodyPr wrap="square" rtlCol="0">
            <a:spAutoFit/>
          </a:bodyPr>
          <a:lstStyle/>
          <a:p>
            <a:r>
              <a:rPr lang="en-US" b="1" dirty="0">
                <a:solidFill>
                  <a:srgbClr val="05BFD5"/>
                </a:solidFill>
              </a:rPr>
              <a:t>Standing Meetings</a:t>
            </a:r>
          </a:p>
        </p:txBody>
      </p:sp>
      <p:sp>
        <p:nvSpPr>
          <p:cNvPr id="31" name="TextBox 30"/>
          <p:cNvSpPr txBox="1"/>
          <p:nvPr/>
        </p:nvSpPr>
        <p:spPr>
          <a:xfrm>
            <a:off x="8380017" y="3297582"/>
            <a:ext cx="3456111" cy="369332"/>
          </a:xfrm>
          <a:prstGeom prst="rect">
            <a:avLst/>
          </a:prstGeom>
          <a:noFill/>
        </p:spPr>
        <p:txBody>
          <a:bodyPr wrap="square" rtlCol="0">
            <a:spAutoFit/>
          </a:bodyPr>
          <a:lstStyle/>
          <a:p>
            <a:r>
              <a:rPr lang="en-US" b="1" dirty="0">
                <a:solidFill>
                  <a:srgbClr val="05BFD5"/>
                </a:solidFill>
              </a:rPr>
              <a:t>Upcoming Milestones</a:t>
            </a:r>
          </a:p>
        </p:txBody>
      </p:sp>
      <p:sp>
        <p:nvSpPr>
          <p:cNvPr id="34" name="TextBox 33"/>
          <p:cNvSpPr txBox="1"/>
          <p:nvPr/>
        </p:nvSpPr>
        <p:spPr>
          <a:xfrm>
            <a:off x="4430431" y="3277946"/>
            <a:ext cx="3456111" cy="369332"/>
          </a:xfrm>
          <a:prstGeom prst="rect">
            <a:avLst/>
          </a:prstGeom>
          <a:noFill/>
        </p:spPr>
        <p:txBody>
          <a:bodyPr wrap="square" rtlCol="0">
            <a:spAutoFit/>
          </a:bodyPr>
          <a:lstStyle/>
          <a:p>
            <a:r>
              <a:rPr lang="en-US" b="1" dirty="0">
                <a:solidFill>
                  <a:srgbClr val="05BFD5"/>
                </a:solidFill>
              </a:rPr>
              <a:t>Project Highlights</a:t>
            </a:r>
          </a:p>
        </p:txBody>
      </p:sp>
    </p:spTree>
    <p:extLst>
      <p:ext uri="{BB962C8B-B14F-4D97-AF65-F5344CB8AC3E}">
        <p14:creationId xmlns:p14="http://schemas.microsoft.com/office/powerpoint/2010/main" val="152010708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79295" y="3863789"/>
            <a:ext cx="11905129" cy="2755392"/>
          </a:xfrm>
        </p:spPr>
        <p:txBody>
          <a:bodyPr/>
          <a:lstStyle/>
          <a:p>
            <a:r>
              <a:rPr lang="en-US" sz="2400" dirty="0"/>
              <a:t>For questions about </a:t>
            </a:r>
            <a:r>
              <a:rPr lang="en-US" sz="2400" b="1" dirty="0" err="1"/>
              <a:t>Kuali</a:t>
            </a:r>
            <a:r>
              <a:rPr lang="en-US" sz="2400" b="1" dirty="0"/>
              <a:t> Research </a:t>
            </a:r>
            <a:r>
              <a:rPr lang="en-US" sz="2400" dirty="0"/>
              <a:t>contact </a:t>
            </a:r>
            <a:r>
              <a:rPr lang="en-US" sz="2400" b="1" dirty="0"/>
              <a:t>Nicole Joyce </a:t>
            </a:r>
            <a:r>
              <a:rPr lang="en-US" sz="2400" dirty="0"/>
              <a:t>at </a:t>
            </a:r>
            <a:r>
              <a:rPr lang="en-US" sz="2400" dirty="0">
                <a:hlinkClick r:id="rId2"/>
              </a:rPr>
              <a:t>njoyce@ucsd.edu</a:t>
            </a:r>
            <a:r>
              <a:rPr lang="en-US" sz="2400" dirty="0"/>
              <a:t> or 858-534-9112</a:t>
            </a:r>
          </a:p>
          <a:p>
            <a:endParaRPr lang="en-US" sz="2400" dirty="0"/>
          </a:p>
          <a:p>
            <a:r>
              <a:rPr lang="en-US" sz="2400" dirty="0"/>
              <a:t>For questions about </a:t>
            </a:r>
            <a:r>
              <a:rPr lang="en-US" sz="2400" b="1" dirty="0" err="1"/>
              <a:t>Kuali</a:t>
            </a:r>
            <a:r>
              <a:rPr lang="en-US" sz="2400" b="1" dirty="0"/>
              <a:t> COI </a:t>
            </a:r>
            <a:r>
              <a:rPr lang="en-US" sz="2400" dirty="0"/>
              <a:t>contact </a:t>
            </a:r>
            <a:r>
              <a:rPr lang="en-US" sz="2400" b="1" dirty="0"/>
              <a:t>Jennifer Ford </a:t>
            </a:r>
            <a:r>
              <a:rPr lang="en-US" sz="2400" dirty="0"/>
              <a:t>at </a:t>
            </a:r>
            <a:r>
              <a:rPr lang="en-US" sz="2400" dirty="0">
                <a:hlinkClick r:id="rId3"/>
              </a:rPr>
              <a:t>jjford@ucsd.edu</a:t>
            </a:r>
            <a:r>
              <a:rPr lang="en-US" sz="2400" dirty="0"/>
              <a:t> or </a:t>
            </a:r>
            <a:r>
              <a:rPr lang="en-US" sz="2400" dirty="0" smtClean="0"/>
              <a:t>858-534-3335 </a:t>
            </a:r>
            <a:endParaRPr lang="en-US" sz="2400" dirty="0"/>
          </a:p>
          <a:p>
            <a:endParaRPr lang="en-US" sz="2400" dirty="0"/>
          </a:p>
          <a:p>
            <a:r>
              <a:rPr lang="en-US" sz="2400" dirty="0"/>
              <a:t>For questions about </a:t>
            </a:r>
            <a:r>
              <a:rPr lang="en-US" sz="2400" b="1" dirty="0" err="1"/>
              <a:t>Kuali</a:t>
            </a:r>
            <a:r>
              <a:rPr lang="en-US" sz="2400" b="1" dirty="0"/>
              <a:t> IRB </a:t>
            </a:r>
            <a:r>
              <a:rPr lang="en-US" sz="2400" dirty="0"/>
              <a:t>contact </a:t>
            </a:r>
            <a:r>
              <a:rPr lang="en-US" sz="2400" b="1" dirty="0"/>
              <a:t>Kip Kantelo </a:t>
            </a:r>
            <a:r>
              <a:rPr lang="en-US" sz="2400" dirty="0"/>
              <a:t>at </a:t>
            </a:r>
            <a:r>
              <a:rPr lang="en-US" sz="2400" dirty="0">
                <a:hlinkClick r:id="rId4"/>
              </a:rPr>
              <a:t>kkantelo@ucsd.edu</a:t>
            </a:r>
            <a:r>
              <a:rPr lang="en-US" sz="2400" dirty="0"/>
              <a:t> or 858-822-1870</a:t>
            </a:r>
          </a:p>
        </p:txBody>
      </p:sp>
    </p:spTree>
    <p:extLst>
      <p:ext uri="{BB962C8B-B14F-4D97-AF65-F5344CB8AC3E}">
        <p14:creationId xmlns:p14="http://schemas.microsoft.com/office/powerpoint/2010/main" val="19780368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1763" y="1824373"/>
            <a:ext cx="10870163" cy="4623079"/>
            <a:chOff x="811763" y="1824373"/>
            <a:chExt cx="10870163" cy="4623079"/>
          </a:xfrm>
        </p:grpSpPr>
        <p:sp>
          <p:nvSpPr>
            <p:cNvPr id="4103" name="Freeform 7"/>
            <p:cNvSpPr>
              <a:spLocks/>
            </p:cNvSpPr>
            <p:nvPr/>
          </p:nvSpPr>
          <p:spPr bwMode="auto">
            <a:xfrm>
              <a:off x="811763" y="1824373"/>
              <a:ext cx="3622087" cy="4623079"/>
            </a:xfrm>
            <a:custGeom>
              <a:avLst/>
              <a:gdLst/>
              <a:ahLst/>
              <a:cxnLst>
                <a:cxn ang="0">
                  <a:pos x="1364" y="658"/>
                </a:cxn>
                <a:cxn ang="0">
                  <a:pos x="1406" y="664"/>
                </a:cxn>
                <a:cxn ang="0">
                  <a:pos x="1444" y="682"/>
                </a:cxn>
                <a:cxn ang="0">
                  <a:pos x="1478" y="706"/>
                </a:cxn>
                <a:cxn ang="0">
                  <a:pos x="1542" y="762"/>
                </a:cxn>
                <a:cxn ang="0">
                  <a:pos x="1576" y="788"/>
                </a:cxn>
                <a:cxn ang="0">
                  <a:pos x="1612" y="806"/>
                </a:cxn>
                <a:cxn ang="0">
                  <a:pos x="1654" y="812"/>
                </a:cxn>
                <a:cxn ang="0">
                  <a:pos x="1674" y="810"/>
                </a:cxn>
                <a:cxn ang="0">
                  <a:pos x="1712" y="802"/>
                </a:cxn>
                <a:cxn ang="0">
                  <a:pos x="1746" y="784"/>
                </a:cxn>
                <a:cxn ang="0">
                  <a:pos x="1776" y="758"/>
                </a:cxn>
                <a:cxn ang="0">
                  <a:pos x="1804" y="726"/>
                </a:cxn>
                <a:cxn ang="0">
                  <a:pos x="1826" y="688"/>
                </a:cxn>
                <a:cxn ang="0">
                  <a:pos x="1842" y="644"/>
                </a:cxn>
                <a:cxn ang="0">
                  <a:pos x="1854" y="596"/>
                </a:cxn>
                <a:cxn ang="0">
                  <a:pos x="1856" y="0"/>
                </a:cxn>
                <a:cxn ang="0">
                  <a:pos x="2" y="0"/>
                </a:cxn>
                <a:cxn ang="0">
                  <a:pos x="0" y="1856"/>
                </a:cxn>
                <a:cxn ang="0">
                  <a:pos x="1856" y="1284"/>
                </a:cxn>
                <a:cxn ang="0">
                  <a:pos x="1854" y="1258"/>
                </a:cxn>
                <a:cxn ang="0">
                  <a:pos x="1842" y="1212"/>
                </a:cxn>
                <a:cxn ang="0">
                  <a:pos x="1826" y="1168"/>
                </a:cxn>
                <a:cxn ang="0">
                  <a:pos x="1804" y="1130"/>
                </a:cxn>
                <a:cxn ang="0">
                  <a:pos x="1776" y="1098"/>
                </a:cxn>
                <a:cxn ang="0">
                  <a:pos x="1746" y="1072"/>
                </a:cxn>
                <a:cxn ang="0">
                  <a:pos x="1712" y="1054"/>
                </a:cxn>
                <a:cxn ang="0">
                  <a:pos x="1674" y="1046"/>
                </a:cxn>
                <a:cxn ang="0">
                  <a:pos x="1656" y="1044"/>
                </a:cxn>
                <a:cxn ang="0">
                  <a:pos x="1612" y="1050"/>
                </a:cxn>
                <a:cxn ang="0">
                  <a:pos x="1576" y="1068"/>
                </a:cxn>
                <a:cxn ang="0">
                  <a:pos x="1542" y="1092"/>
                </a:cxn>
                <a:cxn ang="0">
                  <a:pos x="1478" y="1150"/>
                </a:cxn>
                <a:cxn ang="0">
                  <a:pos x="1444" y="1174"/>
                </a:cxn>
                <a:cxn ang="0">
                  <a:pos x="1406" y="1192"/>
                </a:cxn>
                <a:cxn ang="0">
                  <a:pos x="1364" y="1198"/>
                </a:cxn>
                <a:cxn ang="0">
                  <a:pos x="1344" y="1198"/>
                </a:cxn>
                <a:cxn ang="0">
                  <a:pos x="1304" y="1186"/>
                </a:cxn>
                <a:cxn ang="0">
                  <a:pos x="1268" y="1166"/>
                </a:cxn>
                <a:cxn ang="0">
                  <a:pos x="1236" y="1136"/>
                </a:cxn>
                <a:cxn ang="0">
                  <a:pos x="1208" y="1100"/>
                </a:cxn>
                <a:cxn ang="0">
                  <a:pos x="1186" y="1056"/>
                </a:cxn>
                <a:cxn ang="0">
                  <a:pos x="1170" y="1008"/>
                </a:cxn>
                <a:cxn ang="0">
                  <a:pos x="1162" y="956"/>
                </a:cxn>
                <a:cxn ang="0">
                  <a:pos x="1162" y="928"/>
                </a:cxn>
                <a:cxn ang="0">
                  <a:pos x="1166" y="874"/>
                </a:cxn>
                <a:cxn ang="0">
                  <a:pos x="1178" y="822"/>
                </a:cxn>
                <a:cxn ang="0">
                  <a:pos x="1196" y="776"/>
                </a:cxn>
                <a:cxn ang="0">
                  <a:pos x="1222" y="736"/>
                </a:cxn>
                <a:cxn ang="0">
                  <a:pos x="1252" y="704"/>
                </a:cxn>
                <a:cxn ang="0">
                  <a:pos x="1286" y="678"/>
                </a:cxn>
                <a:cxn ang="0">
                  <a:pos x="1324" y="662"/>
                </a:cxn>
                <a:cxn ang="0">
                  <a:pos x="1364" y="658"/>
                </a:cxn>
              </a:cxnLst>
              <a:rect l="0" t="0" r="r" b="b"/>
              <a:pathLst>
                <a:path w="1856" h="1856">
                  <a:moveTo>
                    <a:pt x="1364" y="658"/>
                  </a:moveTo>
                  <a:lnTo>
                    <a:pt x="1364" y="658"/>
                  </a:lnTo>
                  <a:lnTo>
                    <a:pt x="1386" y="658"/>
                  </a:lnTo>
                  <a:lnTo>
                    <a:pt x="1406" y="664"/>
                  </a:lnTo>
                  <a:lnTo>
                    <a:pt x="1426" y="672"/>
                  </a:lnTo>
                  <a:lnTo>
                    <a:pt x="1444" y="682"/>
                  </a:lnTo>
                  <a:lnTo>
                    <a:pt x="1462" y="694"/>
                  </a:lnTo>
                  <a:lnTo>
                    <a:pt x="1478" y="706"/>
                  </a:lnTo>
                  <a:lnTo>
                    <a:pt x="1510" y="734"/>
                  </a:lnTo>
                  <a:lnTo>
                    <a:pt x="1542" y="762"/>
                  </a:lnTo>
                  <a:lnTo>
                    <a:pt x="1558" y="776"/>
                  </a:lnTo>
                  <a:lnTo>
                    <a:pt x="1576" y="788"/>
                  </a:lnTo>
                  <a:lnTo>
                    <a:pt x="1594" y="798"/>
                  </a:lnTo>
                  <a:lnTo>
                    <a:pt x="1612" y="806"/>
                  </a:lnTo>
                  <a:lnTo>
                    <a:pt x="1634" y="810"/>
                  </a:lnTo>
                  <a:lnTo>
                    <a:pt x="1654" y="812"/>
                  </a:lnTo>
                  <a:lnTo>
                    <a:pt x="1654" y="812"/>
                  </a:lnTo>
                  <a:lnTo>
                    <a:pt x="1674" y="810"/>
                  </a:lnTo>
                  <a:lnTo>
                    <a:pt x="1694" y="808"/>
                  </a:lnTo>
                  <a:lnTo>
                    <a:pt x="1712" y="802"/>
                  </a:lnTo>
                  <a:lnTo>
                    <a:pt x="1728" y="794"/>
                  </a:lnTo>
                  <a:lnTo>
                    <a:pt x="1746" y="784"/>
                  </a:lnTo>
                  <a:lnTo>
                    <a:pt x="1762" y="772"/>
                  </a:lnTo>
                  <a:lnTo>
                    <a:pt x="1776" y="758"/>
                  </a:lnTo>
                  <a:lnTo>
                    <a:pt x="1790" y="742"/>
                  </a:lnTo>
                  <a:lnTo>
                    <a:pt x="1804" y="726"/>
                  </a:lnTo>
                  <a:lnTo>
                    <a:pt x="1816" y="708"/>
                  </a:lnTo>
                  <a:lnTo>
                    <a:pt x="1826" y="688"/>
                  </a:lnTo>
                  <a:lnTo>
                    <a:pt x="1836" y="666"/>
                  </a:lnTo>
                  <a:lnTo>
                    <a:pt x="1842" y="644"/>
                  </a:lnTo>
                  <a:lnTo>
                    <a:pt x="1850" y="620"/>
                  </a:lnTo>
                  <a:lnTo>
                    <a:pt x="1854" y="596"/>
                  </a:lnTo>
                  <a:lnTo>
                    <a:pt x="1856" y="572"/>
                  </a:lnTo>
                  <a:lnTo>
                    <a:pt x="1856" y="0"/>
                  </a:lnTo>
                  <a:lnTo>
                    <a:pt x="2" y="0"/>
                  </a:lnTo>
                  <a:lnTo>
                    <a:pt x="2" y="0"/>
                  </a:lnTo>
                  <a:lnTo>
                    <a:pt x="0" y="0"/>
                  </a:lnTo>
                  <a:lnTo>
                    <a:pt x="0" y="1856"/>
                  </a:lnTo>
                  <a:lnTo>
                    <a:pt x="1856" y="1856"/>
                  </a:lnTo>
                  <a:lnTo>
                    <a:pt x="1856" y="1284"/>
                  </a:lnTo>
                  <a:lnTo>
                    <a:pt x="1856" y="1284"/>
                  </a:lnTo>
                  <a:lnTo>
                    <a:pt x="1854" y="1258"/>
                  </a:lnTo>
                  <a:lnTo>
                    <a:pt x="1850" y="1234"/>
                  </a:lnTo>
                  <a:lnTo>
                    <a:pt x="1842" y="1212"/>
                  </a:lnTo>
                  <a:lnTo>
                    <a:pt x="1836" y="1190"/>
                  </a:lnTo>
                  <a:lnTo>
                    <a:pt x="1826" y="1168"/>
                  </a:lnTo>
                  <a:lnTo>
                    <a:pt x="1816" y="1148"/>
                  </a:lnTo>
                  <a:lnTo>
                    <a:pt x="1804" y="1130"/>
                  </a:lnTo>
                  <a:lnTo>
                    <a:pt x="1790" y="1114"/>
                  </a:lnTo>
                  <a:lnTo>
                    <a:pt x="1776" y="1098"/>
                  </a:lnTo>
                  <a:lnTo>
                    <a:pt x="1762" y="1084"/>
                  </a:lnTo>
                  <a:lnTo>
                    <a:pt x="1746" y="1072"/>
                  </a:lnTo>
                  <a:lnTo>
                    <a:pt x="1728" y="1062"/>
                  </a:lnTo>
                  <a:lnTo>
                    <a:pt x="1712" y="1054"/>
                  </a:lnTo>
                  <a:lnTo>
                    <a:pt x="1694" y="1048"/>
                  </a:lnTo>
                  <a:lnTo>
                    <a:pt x="1674" y="1046"/>
                  </a:lnTo>
                  <a:lnTo>
                    <a:pt x="1656" y="1044"/>
                  </a:lnTo>
                  <a:lnTo>
                    <a:pt x="1656" y="1044"/>
                  </a:lnTo>
                  <a:lnTo>
                    <a:pt x="1634" y="1046"/>
                  </a:lnTo>
                  <a:lnTo>
                    <a:pt x="1612" y="1050"/>
                  </a:lnTo>
                  <a:lnTo>
                    <a:pt x="1594" y="1058"/>
                  </a:lnTo>
                  <a:lnTo>
                    <a:pt x="1576" y="1068"/>
                  </a:lnTo>
                  <a:lnTo>
                    <a:pt x="1558" y="1080"/>
                  </a:lnTo>
                  <a:lnTo>
                    <a:pt x="1542" y="1092"/>
                  </a:lnTo>
                  <a:lnTo>
                    <a:pt x="1510" y="1122"/>
                  </a:lnTo>
                  <a:lnTo>
                    <a:pt x="1478" y="1150"/>
                  </a:lnTo>
                  <a:lnTo>
                    <a:pt x="1462" y="1162"/>
                  </a:lnTo>
                  <a:lnTo>
                    <a:pt x="1444" y="1174"/>
                  </a:lnTo>
                  <a:lnTo>
                    <a:pt x="1426" y="1184"/>
                  </a:lnTo>
                  <a:lnTo>
                    <a:pt x="1406" y="1192"/>
                  </a:lnTo>
                  <a:lnTo>
                    <a:pt x="1386" y="1196"/>
                  </a:lnTo>
                  <a:lnTo>
                    <a:pt x="1364" y="1198"/>
                  </a:lnTo>
                  <a:lnTo>
                    <a:pt x="1364" y="1198"/>
                  </a:lnTo>
                  <a:lnTo>
                    <a:pt x="1344" y="1198"/>
                  </a:lnTo>
                  <a:lnTo>
                    <a:pt x="1324" y="1194"/>
                  </a:lnTo>
                  <a:lnTo>
                    <a:pt x="1304" y="1186"/>
                  </a:lnTo>
                  <a:lnTo>
                    <a:pt x="1286" y="1178"/>
                  </a:lnTo>
                  <a:lnTo>
                    <a:pt x="1268" y="1166"/>
                  </a:lnTo>
                  <a:lnTo>
                    <a:pt x="1252" y="1152"/>
                  </a:lnTo>
                  <a:lnTo>
                    <a:pt x="1236" y="1136"/>
                  </a:lnTo>
                  <a:lnTo>
                    <a:pt x="1222" y="1120"/>
                  </a:lnTo>
                  <a:lnTo>
                    <a:pt x="1208" y="1100"/>
                  </a:lnTo>
                  <a:lnTo>
                    <a:pt x="1196" y="1080"/>
                  </a:lnTo>
                  <a:lnTo>
                    <a:pt x="1186" y="1056"/>
                  </a:lnTo>
                  <a:lnTo>
                    <a:pt x="1178" y="1034"/>
                  </a:lnTo>
                  <a:lnTo>
                    <a:pt x="1170" y="1008"/>
                  </a:lnTo>
                  <a:lnTo>
                    <a:pt x="1166" y="982"/>
                  </a:lnTo>
                  <a:lnTo>
                    <a:pt x="1162" y="956"/>
                  </a:lnTo>
                  <a:lnTo>
                    <a:pt x="1162" y="928"/>
                  </a:lnTo>
                  <a:lnTo>
                    <a:pt x="1162" y="928"/>
                  </a:lnTo>
                  <a:lnTo>
                    <a:pt x="1162" y="900"/>
                  </a:lnTo>
                  <a:lnTo>
                    <a:pt x="1166" y="874"/>
                  </a:lnTo>
                  <a:lnTo>
                    <a:pt x="1170" y="848"/>
                  </a:lnTo>
                  <a:lnTo>
                    <a:pt x="1178" y="822"/>
                  </a:lnTo>
                  <a:lnTo>
                    <a:pt x="1186" y="798"/>
                  </a:lnTo>
                  <a:lnTo>
                    <a:pt x="1196" y="776"/>
                  </a:lnTo>
                  <a:lnTo>
                    <a:pt x="1208" y="756"/>
                  </a:lnTo>
                  <a:lnTo>
                    <a:pt x="1222" y="736"/>
                  </a:lnTo>
                  <a:lnTo>
                    <a:pt x="1236" y="718"/>
                  </a:lnTo>
                  <a:lnTo>
                    <a:pt x="1252" y="704"/>
                  </a:lnTo>
                  <a:lnTo>
                    <a:pt x="1268" y="690"/>
                  </a:lnTo>
                  <a:lnTo>
                    <a:pt x="1286" y="678"/>
                  </a:lnTo>
                  <a:lnTo>
                    <a:pt x="1304" y="670"/>
                  </a:lnTo>
                  <a:lnTo>
                    <a:pt x="1324" y="662"/>
                  </a:lnTo>
                  <a:lnTo>
                    <a:pt x="1344" y="658"/>
                  </a:lnTo>
                  <a:lnTo>
                    <a:pt x="1364" y="658"/>
                  </a:lnTo>
                  <a:lnTo>
                    <a:pt x="1364" y="658"/>
                  </a:lnTo>
                  <a:close/>
                </a:path>
              </a:pathLst>
            </a:custGeom>
            <a:solidFill>
              <a:schemeClr val="bg1">
                <a:lumMod val="85000"/>
              </a:schemeClr>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1" name="Freeform 5"/>
            <p:cNvSpPr>
              <a:spLocks/>
            </p:cNvSpPr>
            <p:nvPr/>
          </p:nvSpPr>
          <p:spPr bwMode="auto">
            <a:xfrm>
              <a:off x="3079470" y="1824373"/>
              <a:ext cx="6334749" cy="4623079"/>
            </a:xfrm>
            <a:custGeom>
              <a:avLst/>
              <a:gdLst/>
              <a:ahLst/>
              <a:cxnLst>
                <a:cxn ang="0">
                  <a:pos x="3002" y="664"/>
                </a:cxn>
                <a:cxn ang="0">
                  <a:pos x="2930" y="706"/>
                </a:cxn>
                <a:cxn ang="0">
                  <a:pos x="2832" y="788"/>
                </a:cxn>
                <a:cxn ang="0">
                  <a:pos x="2754" y="812"/>
                </a:cxn>
                <a:cxn ang="0">
                  <a:pos x="2696" y="802"/>
                </a:cxn>
                <a:cxn ang="0">
                  <a:pos x="2628" y="756"/>
                </a:cxn>
                <a:cxn ang="0">
                  <a:pos x="2580" y="680"/>
                </a:cxn>
                <a:cxn ang="0">
                  <a:pos x="2554" y="586"/>
                </a:cxn>
                <a:cxn ang="0">
                  <a:pos x="694" y="560"/>
                </a:cxn>
                <a:cxn ang="0">
                  <a:pos x="682" y="636"/>
                </a:cxn>
                <a:cxn ang="0">
                  <a:pos x="644" y="720"/>
                </a:cxn>
                <a:cxn ang="0">
                  <a:pos x="586" y="782"/>
                </a:cxn>
                <a:cxn ang="0">
                  <a:pos x="512" y="810"/>
                </a:cxn>
                <a:cxn ang="0">
                  <a:pos x="450" y="806"/>
                </a:cxn>
                <a:cxn ang="0">
                  <a:pos x="380" y="764"/>
                </a:cxn>
                <a:cxn ang="0">
                  <a:pos x="282" y="682"/>
                </a:cxn>
                <a:cxn ang="0">
                  <a:pos x="202" y="658"/>
                </a:cxn>
                <a:cxn ang="0">
                  <a:pos x="142" y="670"/>
                </a:cxn>
                <a:cxn ang="0">
                  <a:pos x="74" y="720"/>
                </a:cxn>
                <a:cxn ang="0">
                  <a:pos x="24" y="800"/>
                </a:cxn>
                <a:cxn ang="0">
                  <a:pos x="0" y="900"/>
                </a:cxn>
                <a:cxn ang="0">
                  <a:pos x="4" y="982"/>
                </a:cxn>
                <a:cxn ang="0">
                  <a:pos x="34" y="1080"/>
                </a:cxn>
                <a:cxn ang="0">
                  <a:pos x="88" y="1152"/>
                </a:cxn>
                <a:cxn ang="0">
                  <a:pos x="162" y="1194"/>
                </a:cxn>
                <a:cxn ang="0">
                  <a:pos x="224" y="1198"/>
                </a:cxn>
                <a:cxn ang="0">
                  <a:pos x="298" y="1162"/>
                </a:cxn>
                <a:cxn ang="0">
                  <a:pos x="396" y="1080"/>
                </a:cxn>
                <a:cxn ang="0">
                  <a:pos x="470" y="1046"/>
                </a:cxn>
                <a:cxn ang="0">
                  <a:pos x="532" y="1050"/>
                </a:cxn>
                <a:cxn ang="0">
                  <a:pos x="602" y="1086"/>
                </a:cxn>
                <a:cxn ang="0">
                  <a:pos x="656" y="1154"/>
                </a:cxn>
                <a:cxn ang="0">
                  <a:pos x="688" y="1246"/>
                </a:cxn>
                <a:cxn ang="0">
                  <a:pos x="2552" y="1856"/>
                </a:cxn>
                <a:cxn ang="0">
                  <a:pos x="2558" y="1246"/>
                </a:cxn>
                <a:cxn ang="0">
                  <a:pos x="2590" y="1156"/>
                </a:cxn>
                <a:cxn ang="0">
                  <a:pos x="2644" y="1088"/>
                </a:cxn>
                <a:cxn ang="0">
                  <a:pos x="2714" y="1050"/>
                </a:cxn>
                <a:cxn ang="0">
                  <a:pos x="2776" y="1046"/>
                </a:cxn>
                <a:cxn ang="0">
                  <a:pos x="2850" y="1080"/>
                </a:cxn>
                <a:cxn ang="0">
                  <a:pos x="2948" y="1162"/>
                </a:cxn>
                <a:cxn ang="0">
                  <a:pos x="3022" y="1198"/>
                </a:cxn>
                <a:cxn ang="0">
                  <a:pos x="3084" y="1194"/>
                </a:cxn>
                <a:cxn ang="0">
                  <a:pos x="3158" y="1152"/>
                </a:cxn>
                <a:cxn ang="0">
                  <a:pos x="3212" y="1080"/>
                </a:cxn>
                <a:cxn ang="0">
                  <a:pos x="3242" y="982"/>
                </a:cxn>
                <a:cxn ang="0">
                  <a:pos x="3246" y="900"/>
                </a:cxn>
                <a:cxn ang="0">
                  <a:pos x="3222" y="800"/>
                </a:cxn>
                <a:cxn ang="0">
                  <a:pos x="3172" y="720"/>
                </a:cxn>
                <a:cxn ang="0">
                  <a:pos x="3104" y="670"/>
                </a:cxn>
                <a:cxn ang="0">
                  <a:pos x="3044" y="658"/>
                </a:cxn>
              </a:cxnLst>
              <a:rect l="0" t="0" r="r" b="b"/>
              <a:pathLst>
                <a:path w="3246" h="1856">
                  <a:moveTo>
                    <a:pt x="3044" y="658"/>
                  </a:moveTo>
                  <a:lnTo>
                    <a:pt x="3044" y="658"/>
                  </a:lnTo>
                  <a:lnTo>
                    <a:pt x="3022" y="660"/>
                  </a:lnTo>
                  <a:lnTo>
                    <a:pt x="3002" y="664"/>
                  </a:lnTo>
                  <a:lnTo>
                    <a:pt x="2982" y="672"/>
                  </a:lnTo>
                  <a:lnTo>
                    <a:pt x="2964" y="682"/>
                  </a:lnTo>
                  <a:lnTo>
                    <a:pt x="2948" y="694"/>
                  </a:lnTo>
                  <a:lnTo>
                    <a:pt x="2930" y="706"/>
                  </a:lnTo>
                  <a:lnTo>
                    <a:pt x="2898" y="736"/>
                  </a:lnTo>
                  <a:lnTo>
                    <a:pt x="2866" y="764"/>
                  </a:lnTo>
                  <a:lnTo>
                    <a:pt x="2850" y="776"/>
                  </a:lnTo>
                  <a:lnTo>
                    <a:pt x="2832" y="788"/>
                  </a:lnTo>
                  <a:lnTo>
                    <a:pt x="2814" y="798"/>
                  </a:lnTo>
                  <a:lnTo>
                    <a:pt x="2796" y="806"/>
                  </a:lnTo>
                  <a:lnTo>
                    <a:pt x="2776" y="810"/>
                  </a:lnTo>
                  <a:lnTo>
                    <a:pt x="2754" y="812"/>
                  </a:lnTo>
                  <a:lnTo>
                    <a:pt x="2754" y="812"/>
                  </a:lnTo>
                  <a:lnTo>
                    <a:pt x="2734" y="812"/>
                  </a:lnTo>
                  <a:lnTo>
                    <a:pt x="2714" y="808"/>
                  </a:lnTo>
                  <a:lnTo>
                    <a:pt x="2696" y="802"/>
                  </a:lnTo>
                  <a:lnTo>
                    <a:pt x="2678" y="792"/>
                  </a:lnTo>
                  <a:lnTo>
                    <a:pt x="2660" y="782"/>
                  </a:lnTo>
                  <a:lnTo>
                    <a:pt x="2644" y="770"/>
                  </a:lnTo>
                  <a:lnTo>
                    <a:pt x="2628" y="756"/>
                  </a:lnTo>
                  <a:lnTo>
                    <a:pt x="2614" y="738"/>
                  </a:lnTo>
                  <a:lnTo>
                    <a:pt x="2602" y="722"/>
                  </a:lnTo>
                  <a:lnTo>
                    <a:pt x="2590" y="702"/>
                  </a:lnTo>
                  <a:lnTo>
                    <a:pt x="2580" y="680"/>
                  </a:lnTo>
                  <a:lnTo>
                    <a:pt x="2570" y="658"/>
                  </a:lnTo>
                  <a:lnTo>
                    <a:pt x="2564" y="636"/>
                  </a:lnTo>
                  <a:lnTo>
                    <a:pt x="2558" y="612"/>
                  </a:lnTo>
                  <a:lnTo>
                    <a:pt x="2554" y="586"/>
                  </a:lnTo>
                  <a:lnTo>
                    <a:pt x="2552" y="560"/>
                  </a:lnTo>
                  <a:lnTo>
                    <a:pt x="2552" y="0"/>
                  </a:lnTo>
                  <a:lnTo>
                    <a:pt x="694" y="0"/>
                  </a:lnTo>
                  <a:lnTo>
                    <a:pt x="694" y="560"/>
                  </a:lnTo>
                  <a:lnTo>
                    <a:pt x="694" y="560"/>
                  </a:lnTo>
                  <a:lnTo>
                    <a:pt x="692" y="586"/>
                  </a:lnTo>
                  <a:lnTo>
                    <a:pt x="688" y="610"/>
                  </a:lnTo>
                  <a:lnTo>
                    <a:pt x="682" y="636"/>
                  </a:lnTo>
                  <a:lnTo>
                    <a:pt x="676" y="658"/>
                  </a:lnTo>
                  <a:lnTo>
                    <a:pt x="666" y="680"/>
                  </a:lnTo>
                  <a:lnTo>
                    <a:pt x="656" y="702"/>
                  </a:lnTo>
                  <a:lnTo>
                    <a:pt x="644" y="720"/>
                  </a:lnTo>
                  <a:lnTo>
                    <a:pt x="632" y="738"/>
                  </a:lnTo>
                  <a:lnTo>
                    <a:pt x="618" y="756"/>
                  </a:lnTo>
                  <a:lnTo>
                    <a:pt x="602" y="770"/>
                  </a:lnTo>
                  <a:lnTo>
                    <a:pt x="586" y="782"/>
                  </a:lnTo>
                  <a:lnTo>
                    <a:pt x="568" y="792"/>
                  </a:lnTo>
                  <a:lnTo>
                    <a:pt x="550" y="802"/>
                  </a:lnTo>
                  <a:lnTo>
                    <a:pt x="532" y="808"/>
                  </a:lnTo>
                  <a:lnTo>
                    <a:pt x="512" y="810"/>
                  </a:lnTo>
                  <a:lnTo>
                    <a:pt x="492" y="812"/>
                  </a:lnTo>
                  <a:lnTo>
                    <a:pt x="492" y="812"/>
                  </a:lnTo>
                  <a:lnTo>
                    <a:pt x="470" y="810"/>
                  </a:lnTo>
                  <a:lnTo>
                    <a:pt x="450" y="806"/>
                  </a:lnTo>
                  <a:lnTo>
                    <a:pt x="432" y="798"/>
                  </a:lnTo>
                  <a:lnTo>
                    <a:pt x="414" y="788"/>
                  </a:lnTo>
                  <a:lnTo>
                    <a:pt x="396" y="776"/>
                  </a:lnTo>
                  <a:lnTo>
                    <a:pt x="380" y="764"/>
                  </a:lnTo>
                  <a:lnTo>
                    <a:pt x="348" y="734"/>
                  </a:lnTo>
                  <a:lnTo>
                    <a:pt x="316" y="706"/>
                  </a:lnTo>
                  <a:lnTo>
                    <a:pt x="298" y="694"/>
                  </a:lnTo>
                  <a:lnTo>
                    <a:pt x="282" y="682"/>
                  </a:lnTo>
                  <a:lnTo>
                    <a:pt x="264" y="672"/>
                  </a:lnTo>
                  <a:lnTo>
                    <a:pt x="244" y="664"/>
                  </a:lnTo>
                  <a:lnTo>
                    <a:pt x="224" y="660"/>
                  </a:lnTo>
                  <a:lnTo>
                    <a:pt x="202" y="658"/>
                  </a:lnTo>
                  <a:lnTo>
                    <a:pt x="202" y="658"/>
                  </a:lnTo>
                  <a:lnTo>
                    <a:pt x="182" y="660"/>
                  </a:lnTo>
                  <a:lnTo>
                    <a:pt x="162" y="664"/>
                  </a:lnTo>
                  <a:lnTo>
                    <a:pt x="142" y="670"/>
                  </a:lnTo>
                  <a:lnTo>
                    <a:pt x="124" y="678"/>
                  </a:lnTo>
                  <a:lnTo>
                    <a:pt x="106" y="690"/>
                  </a:lnTo>
                  <a:lnTo>
                    <a:pt x="88" y="704"/>
                  </a:lnTo>
                  <a:lnTo>
                    <a:pt x="74" y="720"/>
                  </a:lnTo>
                  <a:lnTo>
                    <a:pt x="58" y="736"/>
                  </a:lnTo>
                  <a:lnTo>
                    <a:pt x="46" y="756"/>
                  </a:lnTo>
                  <a:lnTo>
                    <a:pt x="34" y="776"/>
                  </a:lnTo>
                  <a:lnTo>
                    <a:pt x="24" y="800"/>
                  </a:lnTo>
                  <a:lnTo>
                    <a:pt x="16" y="822"/>
                  </a:lnTo>
                  <a:lnTo>
                    <a:pt x="8" y="848"/>
                  </a:lnTo>
                  <a:lnTo>
                    <a:pt x="4" y="874"/>
                  </a:lnTo>
                  <a:lnTo>
                    <a:pt x="0" y="900"/>
                  </a:lnTo>
                  <a:lnTo>
                    <a:pt x="0" y="928"/>
                  </a:lnTo>
                  <a:lnTo>
                    <a:pt x="0" y="928"/>
                  </a:lnTo>
                  <a:lnTo>
                    <a:pt x="0" y="956"/>
                  </a:lnTo>
                  <a:lnTo>
                    <a:pt x="4" y="982"/>
                  </a:lnTo>
                  <a:lnTo>
                    <a:pt x="8" y="1008"/>
                  </a:lnTo>
                  <a:lnTo>
                    <a:pt x="16" y="1034"/>
                  </a:lnTo>
                  <a:lnTo>
                    <a:pt x="24" y="1058"/>
                  </a:lnTo>
                  <a:lnTo>
                    <a:pt x="34" y="1080"/>
                  </a:lnTo>
                  <a:lnTo>
                    <a:pt x="46" y="1100"/>
                  </a:lnTo>
                  <a:lnTo>
                    <a:pt x="58" y="1120"/>
                  </a:lnTo>
                  <a:lnTo>
                    <a:pt x="74" y="1138"/>
                  </a:lnTo>
                  <a:lnTo>
                    <a:pt x="88" y="1152"/>
                  </a:lnTo>
                  <a:lnTo>
                    <a:pt x="106" y="1166"/>
                  </a:lnTo>
                  <a:lnTo>
                    <a:pt x="124" y="1178"/>
                  </a:lnTo>
                  <a:lnTo>
                    <a:pt x="142" y="1186"/>
                  </a:lnTo>
                  <a:lnTo>
                    <a:pt x="162" y="1194"/>
                  </a:lnTo>
                  <a:lnTo>
                    <a:pt x="182" y="1198"/>
                  </a:lnTo>
                  <a:lnTo>
                    <a:pt x="202" y="1198"/>
                  </a:lnTo>
                  <a:lnTo>
                    <a:pt x="202" y="1198"/>
                  </a:lnTo>
                  <a:lnTo>
                    <a:pt x="224" y="1198"/>
                  </a:lnTo>
                  <a:lnTo>
                    <a:pt x="244" y="1192"/>
                  </a:lnTo>
                  <a:lnTo>
                    <a:pt x="264" y="1184"/>
                  </a:lnTo>
                  <a:lnTo>
                    <a:pt x="282" y="1174"/>
                  </a:lnTo>
                  <a:lnTo>
                    <a:pt x="298" y="1162"/>
                  </a:lnTo>
                  <a:lnTo>
                    <a:pt x="316" y="1150"/>
                  </a:lnTo>
                  <a:lnTo>
                    <a:pt x="348" y="1122"/>
                  </a:lnTo>
                  <a:lnTo>
                    <a:pt x="380" y="1094"/>
                  </a:lnTo>
                  <a:lnTo>
                    <a:pt x="396" y="1080"/>
                  </a:lnTo>
                  <a:lnTo>
                    <a:pt x="414" y="1068"/>
                  </a:lnTo>
                  <a:lnTo>
                    <a:pt x="432" y="1058"/>
                  </a:lnTo>
                  <a:lnTo>
                    <a:pt x="450" y="1050"/>
                  </a:lnTo>
                  <a:lnTo>
                    <a:pt x="470" y="1046"/>
                  </a:lnTo>
                  <a:lnTo>
                    <a:pt x="492" y="1044"/>
                  </a:lnTo>
                  <a:lnTo>
                    <a:pt x="492" y="1044"/>
                  </a:lnTo>
                  <a:lnTo>
                    <a:pt x="512" y="1046"/>
                  </a:lnTo>
                  <a:lnTo>
                    <a:pt x="532" y="1050"/>
                  </a:lnTo>
                  <a:lnTo>
                    <a:pt x="550" y="1056"/>
                  </a:lnTo>
                  <a:lnTo>
                    <a:pt x="568" y="1064"/>
                  </a:lnTo>
                  <a:lnTo>
                    <a:pt x="586" y="1074"/>
                  </a:lnTo>
                  <a:lnTo>
                    <a:pt x="602" y="1086"/>
                  </a:lnTo>
                  <a:lnTo>
                    <a:pt x="618" y="1102"/>
                  </a:lnTo>
                  <a:lnTo>
                    <a:pt x="632" y="1118"/>
                  </a:lnTo>
                  <a:lnTo>
                    <a:pt x="644" y="1136"/>
                  </a:lnTo>
                  <a:lnTo>
                    <a:pt x="656" y="1154"/>
                  </a:lnTo>
                  <a:lnTo>
                    <a:pt x="666" y="1176"/>
                  </a:lnTo>
                  <a:lnTo>
                    <a:pt x="676" y="1198"/>
                  </a:lnTo>
                  <a:lnTo>
                    <a:pt x="682" y="1220"/>
                  </a:lnTo>
                  <a:lnTo>
                    <a:pt x="688" y="1246"/>
                  </a:lnTo>
                  <a:lnTo>
                    <a:pt x="692" y="1270"/>
                  </a:lnTo>
                  <a:lnTo>
                    <a:pt x="694" y="1296"/>
                  </a:lnTo>
                  <a:lnTo>
                    <a:pt x="694" y="1856"/>
                  </a:lnTo>
                  <a:lnTo>
                    <a:pt x="2552" y="1856"/>
                  </a:lnTo>
                  <a:lnTo>
                    <a:pt x="2552" y="1298"/>
                  </a:lnTo>
                  <a:lnTo>
                    <a:pt x="2552" y="1298"/>
                  </a:lnTo>
                  <a:lnTo>
                    <a:pt x="2554" y="1272"/>
                  </a:lnTo>
                  <a:lnTo>
                    <a:pt x="2558" y="1246"/>
                  </a:lnTo>
                  <a:lnTo>
                    <a:pt x="2564" y="1222"/>
                  </a:lnTo>
                  <a:lnTo>
                    <a:pt x="2570" y="1198"/>
                  </a:lnTo>
                  <a:lnTo>
                    <a:pt x="2580" y="1176"/>
                  </a:lnTo>
                  <a:lnTo>
                    <a:pt x="2590" y="1156"/>
                  </a:lnTo>
                  <a:lnTo>
                    <a:pt x="2602" y="1136"/>
                  </a:lnTo>
                  <a:lnTo>
                    <a:pt x="2614" y="1118"/>
                  </a:lnTo>
                  <a:lnTo>
                    <a:pt x="2628" y="1102"/>
                  </a:lnTo>
                  <a:lnTo>
                    <a:pt x="2644" y="1088"/>
                  </a:lnTo>
                  <a:lnTo>
                    <a:pt x="2660" y="1074"/>
                  </a:lnTo>
                  <a:lnTo>
                    <a:pt x="2678" y="1064"/>
                  </a:lnTo>
                  <a:lnTo>
                    <a:pt x="2696" y="1056"/>
                  </a:lnTo>
                  <a:lnTo>
                    <a:pt x="2714" y="1050"/>
                  </a:lnTo>
                  <a:lnTo>
                    <a:pt x="2734" y="1046"/>
                  </a:lnTo>
                  <a:lnTo>
                    <a:pt x="2754" y="1044"/>
                  </a:lnTo>
                  <a:lnTo>
                    <a:pt x="2754" y="1044"/>
                  </a:lnTo>
                  <a:lnTo>
                    <a:pt x="2776" y="1046"/>
                  </a:lnTo>
                  <a:lnTo>
                    <a:pt x="2796" y="1050"/>
                  </a:lnTo>
                  <a:lnTo>
                    <a:pt x="2814" y="1058"/>
                  </a:lnTo>
                  <a:lnTo>
                    <a:pt x="2832" y="1068"/>
                  </a:lnTo>
                  <a:lnTo>
                    <a:pt x="2850" y="1080"/>
                  </a:lnTo>
                  <a:lnTo>
                    <a:pt x="2866" y="1094"/>
                  </a:lnTo>
                  <a:lnTo>
                    <a:pt x="2898" y="1122"/>
                  </a:lnTo>
                  <a:lnTo>
                    <a:pt x="2930" y="1150"/>
                  </a:lnTo>
                  <a:lnTo>
                    <a:pt x="2948" y="1162"/>
                  </a:lnTo>
                  <a:lnTo>
                    <a:pt x="2964" y="1174"/>
                  </a:lnTo>
                  <a:lnTo>
                    <a:pt x="2982" y="1184"/>
                  </a:lnTo>
                  <a:lnTo>
                    <a:pt x="3002" y="1192"/>
                  </a:lnTo>
                  <a:lnTo>
                    <a:pt x="3022" y="1198"/>
                  </a:lnTo>
                  <a:lnTo>
                    <a:pt x="3044" y="1198"/>
                  </a:lnTo>
                  <a:lnTo>
                    <a:pt x="3044" y="1198"/>
                  </a:lnTo>
                  <a:lnTo>
                    <a:pt x="3064" y="1198"/>
                  </a:lnTo>
                  <a:lnTo>
                    <a:pt x="3084" y="1194"/>
                  </a:lnTo>
                  <a:lnTo>
                    <a:pt x="3104" y="1186"/>
                  </a:lnTo>
                  <a:lnTo>
                    <a:pt x="3122" y="1178"/>
                  </a:lnTo>
                  <a:lnTo>
                    <a:pt x="3140" y="1166"/>
                  </a:lnTo>
                  <a:lnTo>
                    <a:pt x="3158" y="1152"/>
                  </a:lnTo>
                  <a:lnTo>
                    <a:pt x="3172" y="1138"/>
                  </a:lnTo>
                  <a:lnTo>
                    <a:pt x="3188" y="1120"/>
                  </a:lnTo>
                  <a:lnTo>
                    <a:pt x="3200" y="1100"/>
                  </a:lnTo>
                  <a:lnTo>
                    <a:pt x="3212" y="1080"/>
                  </a:lnTo>
                  <a:lnTo>
                    <a:pt x="3222" y="1058"/>
                  </a:lnTo>
                  <a:lnTo>
                    <a:pt x="3230" y="1034"/>
                  </a:lnTo>
                  <a:lnTo>
                    <a:pt x="3238" y="1008"/>
                  </a:lnTo>
                  <a:lnTo>
                    <a:pt x="3242" y="982"/>
                  </a:lnTo>
                  <a:lnTo>
                    <a:pt x="3246" y="956"/>
                  </a:lnTo>
                  <a:lnTo>
                    <a:pt x="3246" y="928"/>
                  </a:lnTo>
                  <a:lnTo>
                    <a:pt x="3246" y="928"/>
                  </a:lnTo>
                  <a:lnTo>
                    <a:pt x="3246" y="900"/>
                  </a:lnTo>
                  <a:lnTo>
                    <a:pt x="3242" y="874"/>
                  </a:lnTo>
                  <a:lnTo>
                    <a:pt x="3238" y="848"/>
                  </a:lnTo>
                  <a:lnTo>
                    <a:pt x="3230" y="822"/>
                  </a:lnTo>
                  <a:lnTo>
                    <a:pt x="3222" y="800"/>
                  </a:lnTo>
                  <a:lnTo>
                    <a:pt x="3212" y="778"/>
                  </a:lnTo>
                  <a:lnTo>
                    <a:pt x="3200" y="756"/>
                  </a:lnTo>
                  <a:lnTo>
                    <a:pt x="3188" y="736"/>
                  </a:lnTo>
                  <a:lnTo>
                    <a:pt x="3172" y="720"/>
                  </a:lnTo>
                  <a:lnTo>
                    <a:pt x="3158" y="704"/>
                  </a:lnTo>
                  <a:lnTo>
                    <a:pt x="3140" y="690"/>
                  </a:lnTo>
                  <a:lnTo>
                    <a:pt x="3122" y="678"/>
                  </a:lnTo>
                  <a:lnTo>
                    <a:pt x="3104" y="670"/>
                  </a:lnTo>
                  <a:lnTo>
                    <a:pt x="3084" y="664"/>
                  </a:lnTo>
                  <a:lnTo>
                    <a:pt x="3064" y="660"/>
                  </a:lnTo>
                  <a:lnTo>
                    <a:pt x="3044" y="658"/>
                  </a:lnTo>
                  <a:lnTo>
                    <a:pt x="3044" y="658"/>
                  </a:lnTo>
                  <a:close/>
                </a:path>
              </a:pathLst>
            </a:custGeom>
            <a:solidFill>
              <a:srgbClr val="2E75B6"/>
            </a:solidFill>
            <a:ln w="12700">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extrusionClr>
                <a:schemeClr val="tx2">
                  <a:lumMod val="60000"/>
                  <a:lumOff val="40000"/>
                </a:schemeClr>
              </a:extrusionClr>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sp>
          <p:nvSpPr>
            <p:cNvPr id="4102" name="Freeform 6"/>
            <p:cNvSpPr>
              <a:spLocks/>
            </p:cNvSpPr>
            <p:nvPr/>
          </p:nvSpPr>
          <p:spPr bwMode="auto">
            <a:xfrm>
              <a:off x="8059839" y="1824373"/>
              <a:ext cx="3622087" cy="4623079"/>
            </a:xfrm>
            <a:custGeom>
              <a:avLst/>
              <a:gdLst/>
              <a:ahLst/>
              <a:cxnLst>
                <a:cxn ang="0">
                  <a:pos x="1856" y="0"/>
                </a:cxn>
                <a:cxn ang="0">
                  <a:pos x="0" y="572"/>
                </a:cxn>
                <a:cxn ang="0">
                  <a:pos x="2" y="596"/>
                </a:cxn>
                <a:cxn ang="0">
                  <a:pos x="14" y="644"/>
                </a:cxn>
                <a:cxn ang="0">
                  <a:pos x="30" y="688"/>
                </a:cxn>
                <a:cxn ang="0">
                  <a:pos x="52" y="726"/>
                </a:cxn>
                <a:cxn ang="0">
                  <a:pos x="80" y="758"/>
                </a:cxn>
                <a:cxn ang="0">
                  <a:pos x="110" y="784"/>
                </a:cxn>
                <a:cxn ang="0">
                  <a:pos x="144" y="802"/>
                </a:cxn>
                <a:cxn ang="0">
                  <a:pos x="182" y="810"/>
                </a:cxn>
                <a:cxn ang="0">
                  <a:pos x="202" y="812"/>
                </a:cxn>
                <a:cxn ang="0">
                  <a:pos x="244" y="806"/>
                </a:cxn>
                <a:cxn ang="0">
                  <a:pos x="280" y="788"/>
                </a:cxn>
                <a:cxn ang="0">
                  <a:pos x="314" y="762"/>
                </a:cxn>
                <a:cxn ang="0">
                  <a:pos x="378" y="706"/>
                </a:cxn>
                <a:cxn ang="0">
                  <a:pos x="412" y="682"/>
                </a:cxn>
                <a:cxn ang="0">
                  <a:pos x="450" y="664"/>
                </a:cxn>
                <a:cxn ang="0">
                  <a:pos x="492" y="658"/>
                </a:cxn>
                <a:cxn ang="0">
                  <a:pos x="512" y="658"/>
                </a:cxn>
                <a:cxn ang="0">
                  <a:pos x="552" y="670"/>
                </a:cxn>
                <a:cxn ang="0">
                  <a:pos x="588" y="690"/>
                </a:cxn>
                <a:cxn ang="0">
                  <a:pos x="620" y="718"/>
                </a:cxn>
                <a:cxn ang="0">
                  <a:pos x="648" y="756"/>
                </a:cxn>
                <a:cxn ang="0">
                  <a:pos x="670" y="798"/>
                </a:cxn>
                <a:cxn ang="0">
                  <a:pos x="686" y="848"/>
                </a:cxn>
                <a:cxn ang="0">
                  <a:pos x="694" y="900"/>
                </a:cxn>
                <a:cxn ang="0">
                  <a:pos x="694" y="928"/>
                </a:cxn>
                <a:cxn ang="0">
                  <a:pos x="690" y="982"/>
                </a:cxn>
                <a:cxn ang="0">
                  <a:pos x="678" y="1034"/>
                </a:cxn>
                <a:cxn ang="0">
                  <a:pos x="660" y="1080"/>
                </a:cxn>
                <a:cxn ang="0">
                  <a:pos x="634" y="1120"/>
                </a:cxn>
                <a:cxn ang="0">
                  <a:pos x="604" y="1152"/>
                </a:cxn>
                <a:cxn ang="0">
                  <a:pos x="570" y="1178"/>
                </a:cxn>
                <a:cxn ang="0">
                  <a:pos x="532" y="1194"/>
                </a:cxn>
                <a:cxn ang="0">
                  <a:pos x="492" y="1198"/>
                </a:cxn>
                <a:cxn ang="0">
                  <a:pos x="470" y="1196"/>
                </a:cxn>
                <a:cxn ang="0">
                  <a:pos x="430" y="1184"/>
                </a:cxn>
                <a:cxn ang="0">
                  <a:pos x="394" y="1162"/>
                </a:cxn>
                <a:cxn ang="0">
                  <a:pos x="346" y="1122"/>
                </a:cxn>
                <a:cxn ang="0">
                  <a:pos x="298" y="1080"/>
                </a:cxn>
                <a:cxn ang="0">
                  <a:pos x="262" y="1058"/>
                </a:cxn>
                <a:cxn ang="0">
                  <a:pos x="222" y="1046"/>
                </a:cxn>
                <a:cxn ang="0">
                  <a:pos x="200" y="1044"/>
                </a:cxn>
                <a:cxn ang="0">
                  <a:pos x="162" y="1048"/>
                </a:cxn>
                <a:cxn ang="0">
                  <a:pos x="128" y="1062"/>
                </a:cxn>
                <a:cxn ang="0">
                  <a:pos x="94" y="1084"/>
                </a:cxn>
                <a:cxn ang="0">
                  <a:pos x="66" y="1114"/>
                </a:cxn>
                <a:cxn ang="0">
                  <a:pos x="40" y="1148"/>
                </a:cxn>
                <a:cxn ang="0">
                  <a:pos x="20" y="1190"/>
                </a:cxn>
                <a:cxn ang="0">
                  <a:pos x="6" y="1234"/>
                </a:cxn>
                <a:cxn ang="0">
                  <a:pos x="0" y="1284"/>
                </a:cxn>
                <a:cxn ang="0">
                  <a:pos x="1856" y="1856"/>
                </a:cxn>
                <a:cxn ang="0">
                  <a:pos x="1856" y="0"/>
                </a:cxn>
              </a:cxnLst>
              <a:rect l="0" t="0" r="r" b="b"/>
              <a:pathLst>
                <a:path w="1856" h="1856">
                  <a:moveTo>
                    <a:pt x="1856" y="0"/>
                  </a:moveTo>
                  <a:lnTo>
                    <a:pt x="1856" y="0"/>
                  </a:lnTo>
                  <a:lnTo>
                    <a:pt x="0" y="0"/>
                  </a:lnTo>
                  <a:lnTo>
                    <a:pt x="0" y="572"/>
                  </a:lnTo>
                  <a:lnTo>
                    <a:pt x="0" y="572"/>
                  </a:lnTo>
                  <a:lnTo>
                    <a:pt x="2" y="596"/>
                  </a:lnTo>
                  <a:lnTo>
                    <a:pt x="6" y="620"/>
                  </a:lnTo>
                  <a:lnTo>
                    <a:pt x="14" y="644"/>
                  </a:lnTo>
                  <a:lnTo>
                    <a:pt x="20" y="666"/>
                  </a:lnTo>
                  <a:lnTo>
                    <a:pt x="30" y="688"/>
                  </a:lnTo>
                  <a:lnTo>
                    <a:pt x="40" y="708"/>
                  </a:lnTo>
                  <a:lnTo>
                    <a:pt x="52" y="726"/>
                  </a:lnTo>
                  <a:lnTo>
                    <a:pt x="66" y="742"/>
                  </a:lnTo>
                  <a:lnTo>
                    <a:pt x="80" y="758"/>
                  </a:lnTo>
                  <a:lnTo>
                    <a:pt x="94" y="772"/>
                  </a:lnTo>
                  <a:lnTo>
                    <a:pt x="110" y="784"/>
                  </a:lnTo>
                  <a:lnTo>
                    <a:pt x="128" y="794"/>
                  </a:lnTo>
                  <a:lnTo>
                    <a:pt x="144" y="802"/>
                  </a:lnTo>
                  <a:lnTo>
                    <a:pt x="162" y="808"/>
                  </a:lnTo>
                  <a:lnTo>
                    <a:pt x="182" y="810"/>
                  </a:lnTo>
                  <a:lnTo>
                    <a:pt x="202" y="812"/>
                  </a:lnTo>
                  <a:lnTo>
                    <a:pt x="202" y="812"/>
                  </a:lnTo>
                  <a:lnTo>
                    <a:pt x="222" y="810"/>
                  </a:lnTo>
                  <a:lnTo>
                    <a:pt x="244" y="806"/>
                  </a:lnTo>
                  <a:lnTo>
                    <a:pt x="262" y="798"/>
                  </a:lnTo>
                  <a:lnTo>
                    <a:pt x="280" y="788"/>
                  </a:lnTo>
                  <a:lnTo>
                    <a:pt x="298" y="776"/>
                  </a:lnTo>
                  <a:lnTo>
                    <a:pt x="314" y="762"/>
                  </a:lnTo>
                  <a:lnTo>
                    <a:pt x="346" y="734"/>
                  </a:lnTo>
                  <a:lnTo>
                    <a:pt x="378" y="706"/>
                  </a:lnTo>
                  <a:lnTo>
                    <a:pt x="394" y="694"/>
                  </a:lnTo>
                  <a:lnTo>
                    <a:pt x="412" y="682"/>
                  </a:lnTo>
                  <a:lnTo>
                    <a:pt x="430" y="672"/>
                  </a:lnTo>
                  <a:lnTo>
                    <a:pt x="450" y="664"/>
                  </a:lnTo>
                  <a:lnTo>
                    <a:pt x="470" y="658"/>
                  </a:lnTo>
                  <a:lnTo>
                    <a:pt x="492" y="658"/>
                  </a:lnTo>
                  <a:lnTo>
                    <a:pt x="492" y="658"/>
                  </a:lnTo>
                  <a:lnTo>
                    <a:pt x="512" y="658"/>
                  </a:lnTo>
                  <a:lnTo>
                    <a:pt x="532" y="662"/>
                  </a:lnTo>
                  <a:lnTo>
                    <a:pt x="552" y="670"/>
                  </a:lnTo>
                  <a:lnTo>
                    <a:pt x="570" y="678"/>
                  </a:lnTo>
                  <a:lnTo>
                    <a:pt x="588" y="690"/>
                  </a:lnTo>
                  <a:lnTo>
                    <a:pt x="604" y="704"/>
                  </a:lnTo>
                  <a:lnTo>
                    <a:pt x="620" y="718"/>
                  </a:lnTo>
                  <a:lnTo>
                    <a:pt x="634" y="736"/>
                  </a:lnTo>
                  <a:lnTo>
                    <a:pt x="648" y="756"/>
                  </a:lnTo>
                  <a:lnTo>
                    <a:pt x="660" y="776"/>
                  </a:lnTo>
                  <a:lnTo>
                    <a:pt x="670" y="798"/>
                  </a:lnTo>
                  <a:lnTo>
                    <a:pt x="678" y="822"/>
                  </a:lnTo>
                  <a:lnTo>
                    <a:pt x="686" y="848"/>
                  </a:lnTo>
                  <a:lnTo>
                    <a:pt x="690" y="874"/>
                  </a:lnTo>
                  <a:lnTo>
                    <a:pt x="694" y="900"/>
                  </a:lnTo>
                  <a:lnTo>
                    <a:pt x="694" y="928"/>
                  </a:lnTo>
                  <a:lnTo>
                    <a:pt x="694" y="928"/>
                  </a:lnTo>
                  <a:lnTo>
                    <a:pt x="694" y="956"/>
                  </a:lnTo>
                  <a:lnTo>
                    <a:pt x="690" y="982"/>
                  </a:lnTo>
                  <a:lnTo>
                    <a:pt x="686" y="1008"/>
                  </a:lnTo>
                  <a:lnTo>
                    <a:pt x="678" y="1034"/>
                  </a:lnTo>
                  <a:lnTo>
                    <a:pt x="670" y="1056"/>
                  </a:lnTo>
                  <a:lnTo>
                    <a:pt x="660" y="1080"/>
                  </a:lnTo>
                  <a:lnTo>
                    <a:pt x="648" y="1100"/>
                  </a:lnTo>
                  <a:lnTo>
                    <a:pt x="634" y="1120"/>
                  </a:lnTo>
                  <a:lnTo>
                    <a:pt x="620" y="1136"/>
                  </a:lnTo>
                  <a:lnTo>
                    <a:pt x="604" y="1152"/>
                  </a:lnTo>
                  <a:lnTo>
                    <a:pt x="588" y="1166"/>
                  </a:lnTo>
                  <a:lnTo>
                    <a:pt x="570" y="1178"/>
                  </a:lnTo>
                  <a:lnTo>
                    <a:pt x="552" y="1186"/>
                  </a:lnTo>
                  <a:lnTo>
                    <a:pt x="532" y="1194"/>
                  </a:lnTo>
                  <a:lnTo>
                    <a:pt x="512" y="1198"/>
                  </a:lnTo>
                  <a:lnTo>
                    <a:pt x="492" y="1198"/>
                  </a:lnTo>
                  <a:lnTo>
                    <a:pt x="492" y="1198"/>
                  </a:lnTo>
                  <a:lnTo>
                    <a:pt x="470" y="1196"/>
                  </a:lnTo>
                  <a:lnTo>
                    <a:pt x="450" y="1192"/>
                  </a:lnTo>
                  <a:lnTo>
                    <a:pt x="430" y="1184"/>
                  </a:lnTo>
                  <a:lnTo>
                    <a:pt x="412" y="1174"/>
                  </a:lnTo>
                  <a:lnTo>
                    <a:pt x="394" y="1162"/>
                  </a:lnTo>
                  <a:lnTo>
                    <a:pt x="378" y="1150"/>
                  </a:lnTo>
                  <a:lnTo>
                    <a:pt x="346" y="1122"/>
                  </a:lnTo>
                  <a:lnTo>
                    <a:pt x="314" y="1092"/>
                  </a:lnTo>
                  <a:lnTo>
                    <a:pt x="298" y="1080"/>
                  </a:lnTo>
                  <a:lnTo>
                    <a:pt x="280" y="1068"/>
                  </a:lnTo>
                  <a:lnTo>
                    <a:pt x="262" y="1058"/>
                  </a:lnTo>
                  <a:lnTo>
                    <a:pt x="244" y="1050"/>
                  </a:lnTo>
                  <a:lnTo>
                    <a:pt x="222" y="1046"/>
                  </a:lnTo>
                  <a:lnTo>
                    <a:pt x="200" y="1044"/>
                  </a:lnTo>
                  <a:lnTo>
                    <a:pt x="200" y="1044"/>
                  </a:lnTo>
                  <a:lnTo>
                    <a:pt x="182" y="1046"/>
                  </a:lnTo>
                  <a:lnTo>
                    <a:pt x="162" y="1048"/>
                  </a:lnTo>
                  <a:lnTo>
                    <a:pt x="144" y="1054"/>
                  </a:lnTo>
                  <a:lnTo>
                    <a:pt x="128" y="1062"/>
                  </a:lnTo>
                  <a:lnTo>
                    <a:pt x="110" y="1072"/>
                  </a:lnTo>
                  <a:lnTo>
                    <a:pt x="94" y="1084"/>
                  </a:lnTo>
                  <a:lnTo>
                    <a:pt x="80" y="1098"/>
                  </a:lnTo>
                  <a:lnTo>
                    <a:pt x="66" y="1114"/>
                  </a:lnTo>
                  <a:lnTo>
                    <a:pt x="52" y="1130"/>
                  </a:lnTo>
                  <a:lnTo>
                    <a:pt x="40" y="1148"/>
                  </a:lnTo>
                  <a:lnTo>
                    <a:pt x="30" y="1168"/>
                  </a:lnTo>
                  <a:lnTo>
                    <a:pt x="20" y="1190"/>
                  </a:lnTo>
                  <a:lnTo>
                    <a:pt x="14" y="1212"/>
                  </a:lnTo>
                  <a:lnTo>
                    <a:pt x="6" y="1234"/>
                  </a:lnTo>
                  <a:lnTo>
                    <a:pt x="2" y="1258"/>
                  </a:lnTo>
                  <a:lnTo>
                    <a:pt x="0" y="1284"/>
                  </a:lnTo>
                  <a:lnTo>
                    <a:pt x="0" y="1856"/>
                  </a:lnTo>
                  <a:lnTo>
                    <a:pt x="1856" y="1856"/>
                  </a:lnTo>
                  <a:lnTo>
                    <a:pt x="1856" y="0"/>
                  </a:lnTo>
                  <a:lnTo>
                    <a:pt x="1856" y="0"/>
                  </a:lnTo>
                  <a:close/>
                </a:path>
              </a:pathLst>
            </a:custGeom>
            <a:solidFill>
              <a:schemeClr val="bg1">
                <a:lumMod val="85000"/>
              </a:schemeClr>
            </a:solidFill>
            <a:ln w="9525">
              <a:solidFill>
                <a:srgbClr val="BFBFBF"/>
              </a:solidFill>
              <a:miter lim="800000"/>
              <a:headEnd/>
              <a:tailEnd/>
            </a:ln>
            <a:effectLst>
              <a:outerShdw blurRad="25400" dist="12700" dir="5400000" algn="tl" rotWithShape="0">
                <a:prstClr val="black">
                  <a:alpha val="20000"/>
                </a:prstClr>
              </a:outerShdw>
            </a:effectLst>
            <a:scene3d>
              <a:camera prst="orthographicFront"/>
              <a:lightRig rig="threePt" dir="t"/>
            </a:scene3d>
            <a:sp3d>
              <a:bevelT w="38100" h="12700"/>
              <a:bevelB w="38100" h="12700"/>
            </a:sp3d>
          </p:spPr>
          <p:txBody>
            <a:bodyPr lIns="18288" tIns="18288" rIns="18288" bIns="18288" anchor="ctr" anchorCtr="1"/>
            <a:lstStyle/>
            <a:p>
              <a:pPr algn="ctr" eaLnBrk="0" fontAlgn="base" hangingPunct="0">
                <a:lnSpc>
                  <a:spcPct val="85000"/>
                </a:lnSpc>
                <a:spcBef>
                  <a:spcPts val="20"/>
                </a:spcBef>
                <a:spcAft>
                  <a:spcPct val="0"/>
                </a:spcAft>
              </a:pPr>
              <a:endParaRPr lang="en-US" sz="1600" b="1" dirty="0">
                <a:solidFill>
                  <a:srgbClr val="000000"/>
                </a:solidFill>
                <a:latin typeface="Arial Narrow" pitchFamily="112" charset="0"/>
              </a:endParaRPr>
            </a:p>
          </p:txBody>
        </p:sp>
      </p:grpSp>
      <p:sp>
        <p:nvSpPr>
          <p:cNvPr id="12" name="TextBox 11"/>
          <p:cNvSpPr txBox="1"/>
          <p:nvPr/>
        </p:nvSpPr>
        <p:spPr>
          <a:xfrm>
            <a:off x="918460" y="2168613"/>
            <a:ext cx="3343311" cy="2276008"/>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bg1">
                    <a:lumMod val="65000"/>
                  </a:schemeClr>
                </a:solidFill>
                <a:latin typeface="Calibri" panose="020F0502020204030204" pitchFamily="34" charset="0"/>
                <a:cs typeface="Calibri" panose="020F0502020204030204" pitchFamily="34" charset="0"/>
              </a:rPr>
              <a:t>Kuali</a:t>
            </a:r>
            <a:r>
              <a:rPr lang="en-US" sz="2800" b="1" dirty="0">
                <a:solidFill>
                  <a:schemeClr val="bg1">
                    <a:lumMod val="65000"/>
                  </a:schemeClr>
                </a:solidFill>
                <a:latin typeface="Calibri" panose="020F0502020204030204" pitchFamily="34" charset="0"/>
                <a:cs typeface="Calibri" panose="020F0502020204030204" pitchFamily="34" charset="0"/>
              </a:rPr>
              <a:t> </a:t>
            </a:r>
            <a:r>
              <a:rPr lang="en-US" sz="2800" b="1" dirty="0" smtClean="0">
                <a:solidFill>
                  <a:schemeClr val="bg1">
                    <a:lumMod val="65000"/>
                  </a:schemeClr>
                </a:solidFill>
                <a:latin typeface="Calibri" panose="020F0502020204030204" pitchFamily="34" charset="0"/>
                <a:cs typeface="Calibri" panose="020F0502020204030204" pitchFamily="34" charset="0"/>
              </a:rPr>
              <a:t>COI</a:t>
            </a:r>
            <a:endParaRPr lang="en-US" sz="2800" b="1" dirty="0">
              <a:solidFill>
                <a:schemeClr val="bg1">
                  <a:lumMod val="65000"/>
                </a:schemeClr>
              </a:solidFill>
              <a:latin typeface="Calibri" panose="020F0502020204030204" pitchFamily="34" charset="0"/>
              <a:cs typeface="Calibri" panose="020F0502020204030204" pitchFamily="34" charset="0"/>
            </a:endParaRPr>
          </a:p>
          <a:p>
            <a:pPr algn="ctr" eaLnBrk="0" fontAlgn="base" hangingPunct="0">
              <a:lnSpc>
                <a:spcPct val="85000"/>
              </a:lnSpc>
              <a:spcBef>
                <a:spcPct val="0"/>
              </a:spcBef>
              <a:spcAft>
                <a:spcPct val="0"/>
              </a:spcAft>
            </a:pPr>
            <a:r>
              <a:rPr lang="en-US" sz="1600" dirty="0">
                <a:solidFill>
                  <a:schemeClr val="bg1">
                    <a:lumMod val="65000"/>
                  </a:schemeClr>
                </a:solidFill>
                <a:latin typeface="Calibri" panose="020F0502020204030204" pitchFamily="34" charset="0"/>
                <a:cs typeface="Calibri" panose="020F0502020204030204" pitchFamily="34" charset="0"/>
              </a:rPr>
              <a:t>Facilitates Electronic Disclosures</a:t>
            </a:r>
          </a:p>
          <a:p>
            <a:pPr algn="ctr" eaLnBrk="0" fontAlgn="base" hangingPunct="0">
              <a:lnSpc>
                <a:spcPct val="85000"/>
              </a:lnSpc>
              <a:spcBef>
                <a:spcPct val="0"/>
              </a:spcBef>
              <a:spcAft>
                <a:spcPct val="0"/>
              </a:spcAft>
            </a:pPr>
            <a:r>
              <a:rPr lang="en-US" sz="1400" dirty="0">
                <a:solidFill>
                  <a:schemeClr val="bg1">
                    <a:lumMod val="65000"/>
                  </a:schemeClr>
                </a:solidFill>
                <a:latin typeface="Calibri" panose="020F0502020204030204" pitchFamily="34" charset="0"/>
                <a:cs typeface="Calibri" panose="020F0502020204030204" pitchFamily="34" charset="0"/>
              </a:rPr>
              <a:t>(replacing paper/PDF process)</a:t>
            </a:r>
          </a:p>
          <a:p>
            <a:pPr eaLnBrk="0" fontAlgn="base" hangingPunct="0">
              <a:lnSpc>
                <a:spcPct val="85000"/>
              </a:lnSpc>
              <a:spcBef>
                <a:spcPct val="0"/>
              </a:spcBef>
              <a:spcAft>
                <a:spcPct val="0"/>
              </a:spcAft>
            </a:pPr>
            <a:endParaRPr lang="en-US" sz="1600" dirty="0">
              <a:solidFill>
                <a:schemeClr val="bg1">
                  <a:lumMod val="65000"/>
                </a:schemeClr>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dirty="0">
                <a:solidFill>
                  <a:schemeClr val="bg1">
                    <a:lumMod val="65000"/>
                  </a:schemeClr>
                </a:solidFill>
                <a:latin typeface="Calibri" panose="020F0502020204030204" pitchFamily="34" charset="0"/>
                <a:cs typeface="Calibri" panose="020F0502020204030204" pitchFamily="34" charset="0"/>
              </a:rPr>
              <a:t>Covers the following form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PHS</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700U</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lumMod val="65000"/>
                  </a:schemeClr>
                </a:solidFill>
                <a:latin typeface="Calibri" panose="020F0502020204030204" pitchFamily="34" charset="0"/>
                <a:cs typeface="Calibri" panose="020F0502020204030204" pitchFamily="34" charset="0"/>
              </a:rPr>
              <a:t>9510</a:t>
            </a:r>
          </a:p>
          <a:p>
            <a:pPr algn="ctr" eaLnBrk="0" fontAlgn="base" hangingPunct="0">
              <a:lnSpc>
                <a:spcPct val="85000"/>
              </a:lnSpc>
              <a:spcBef>
                <a:spcPct val="0"/>
              </a:spcBef>
              <a:spcAft>
                <a:spcPct val="0"/>
              </a:spcAft>
            </a:pPr>
            <a:endParaRPr lang="en-US" sz="1600" dirty="0">
              <a:solidFill>
                <a:srgbClr val="061F4C"/>
              </a:solidFill>
              <a:latin typeface="Arial Narrow" pitchFamily="34" charset="0"/>
              <a:cs typeface="Arial" pitchFamily="34" charset="0"/>
            </a:endParaRPr>
          </a:p>
        </p:txBody>
      </p:sp>
      <p:sp>
        <p:nvSpPr>
          <p:cNvPr id="13" name="TextBox 12"/>
          <p:cNvSpPr txBox="1"/>
          <p:nvPr/>
        </p:nvSpPr>
        <p:spPr>
          <a:xfrm>
            <a:off x="4647654" y="1943683"/>
            <a:ext cx="3198379" cy="3488647"/>
          </a:xfrm>
          <a:prstGeom prst="rect">
            <a:avLst/>
          </a:prstGeom>
          <a:noFill/>
          <a:effectLst/>
        </p:spPr>
        <p:txBody>
          <a:bodyPr wrap="square" rtlCol="0">
            <a:spAutoFit/>
          </a:bodyPr>
          <a:lstStyle/>
          <a:p>
            <a:pPr algn="ctr" eaLnBrk="0" fontAlgn="base" hangingPunct="0">
              <a:spcBef>
                <a:spcPct val="0"/>
              </a:spcBef>
              <a:spcAft>
                <a:spcPct val="0"/>
              </a:spcAft>
            </a:pPr>
            <a:r>
              <a:rPr lang="en-US" sz="3200" b="1" dirty="0" err="1">
                <a:solidFill>
                  <a:schemeClr val="bg1"/>
                </a:solidFill>
                <a:latin typeface="Calibri" panose="020F0502020204030204" pitchFamily="34" charset="0"/>
                <a:cs typeface="Calibri" panose="020F0502020204030204" pitchFamily="34" charset="0"/>
              </a:rPr>
              <a:t>Kuali</a:t>
            </a:r>
            <a:r>
              <a:rPr lang="en-US" sz="3200" b="1" dirty="0">
                <a:solidFill>
                  <a:schemeClr val="bg1"/>
                </a:solidFill>
                <a:latin typeface="Calibri" panose="020F0502020204030204" pitchFamily="34" charset="0"/>
                <a:cs typeface="Calibri" panose="020F0502020204030204" pitchFamily="34" charset="0"/>
              </a:rPr>
              <a:t> Research</a:t>
            </a:r>
          </a:p>
          <a:p>
            <a:pPr algn="ctr" eaLnBrk="0" fontAlgn="base" hangingPunct="0">
              <a:lnSpc>
                <a:spcPct val="85000"/>
              </a:lnSpc>
              <a:spcBef>
                <a:spcPct val="0"/>
              </a:spcBef>
              <a:spcAft>
                <a:spcPct val="0"/>
              </a:spcAft>
            </a:pPr>
            <a:r>
              <a:rPr lang="en-US" sz="1600" dirty="0">
                <a:solidFill>
                  <a:schemeClr val="bg1"/>
                </a:solidFill>
                <a:latin typeface="Calibri" panose="020F0502020204030204" pitchFamily="34" charset="0"/>
                <a:cs typeface="Calibri" panose="020F0502020204030204" pitchFamily="34" charset="0"/>
              </a:rPr>
              <a:t>Sponsored Programs Modules</a:t>
            </a:r>
          </a:p>
          <a:p>
            <a:pPr algn="ctr" eaLnBrk="0" fontAlgn="base" hangingPunct="0">
              <a:lnSpc>
                <a:spcPct val="85000"/>
              </a:lnSpc>
              <a:spcBef>
                <a:spcPct val="0"/>
              </a:spcBef>
              <a:spcAft>
                <a:spcPct val="0"/>
              </a:spcAft>
            </a:pPr>
            <a:r>
              <a:rPr lang="en-US" sz="1200" dirty="0">
                <a:solidFill>
                  <a:schemeClr val="bg1"/>
                </a:solidFill>
                <a:latin typeface="Calibri" panose="020F0502020204030204" pitchFamily="34" charset="0"/>
                <a:cs typeface="Calibri" panose="020F0502020204030204" pitchFamily="34" charset="0"/>
              </a:rPr>
              <a:t>(</a:t>
            </a:r>
            <a:r>
              <a:rPr lang="en-US" sz="1400" dirty="0">
                <a:solidFill>
                  <a:schemeClr val="bg1"/>
                </a:solidFill>
                <a:latin typeface="Calibri" panose="020F0502020204030204" pitchFamily="34" charset="0"/>
                <a:cs typeface="Calibri" panose="020F0502020204030204" pitchFamily="34" charset="0"/>
              </a:rPr>
              <a:t>replacing EPD, </a:t>
            </a:r>
            <a:r>
              <a:rPr lang="en-US" sz="1400" dirty="0" err="1">
                <a:solidFill>
                  <a:schemeClr val="bg1"/>
                </a:solidFill>
                <a:latin typeface="Calibri" panose="020F0502020204030204" pitchFamily="34" charset="0"/>
                <a:cs typeface="Calibri" panose="020F0502020204030204" pitchFamily="34" charset="0"/>
              </a:rPr>
              <a:t>Coeus</a:t>
            </a:r>
            <a:r>
              <a:rPr lang="en-US" sz="1400" dirty="0">
                <a:solidFill>
                  <a:schemeClr val="bg1"/>
                </a:solidFill>
                <a:latin typeface="Calibri" panose="020F0502020204030204" pitchFamily="34" charset="0"/>
                <a:cs typeface="Calibri" panose="020F0502020204030204" pitchFamily="34" charset="0"/>
              </a:rPr>
              <a:t> IP, </a:t>
            </a:r>
            <a:r>
              <a:rPr lang="en-US" sz="1400" dirty="0" err="1">
                <a:solidFill>
                  <a:schemeClr val="bg1"/>
                </a:solidFill>
                <a:latin typeface="Calibri" panose="020F0502020204030204" pitchFamily="34" charset="0"/>
                <a:cs typeface="Calibri" panose="020F0502020204030204" pitchFamily="34" charset="0"/>
              </a:rPr>
              <a:t>Coeus</a:t>
            </a:r>
            <a:r>
              <a:rPr lang="en-US" sz="1400" dirty="0">
                <a:solidFill>
                  <a:schemeClr val="bg1"/>
                </a:solidFill>
                <a:latin typeface="Calibri" panose="020F0502020204030204" pitchFamily="34" charset="0"/>
                <a:cs typeface="Calibri" panose="020F0502020204030204" pitchFamily="34" charset="0"/>
              </a:rPr>
              <a:t> Award)</a:t>
            </a:r>
          </a:p>
          <a:p>
            <a:pPr eaLnBrk="0" fontAlgn="base" hangingPunct="0">
              <a:lnSpc>
                <a:spcPct val="85000"/>
              </a:lnSpc>
              <a:spcBef>
                <a:spcPct val="0"/>
              </a:spcBef>
              <a:spcAft>
                <a:spcPct val="0"/>
              </a:spcAft>
            </a:pPr>
            <a:endParaRPr lang="en-US" sz="1600"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endParaRPr lang="en-US" sz="1600"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solidFill>
                <a:latin typeface="Calibri" panose="020F0502020204030204" pitchFamily="34" charset="0"/>
                <a:cs typeface="Calibri" panose="020F0502020204030204" pitchFamily="34" charset="0"/>
              </a:rPr>
              <a:t>Pre-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Proposal Development* *</a:t>
            </a:r>
            <a:r>
              <a:rPr lang="en-US" sz="1600" dirty="0">
                <a:solidFill>
                  <a:schemeClr val="bg1"/>
                </a:solidFill>
                <a:latin typeface="Calibri" panose="020F0502020204030204" pitchFamily="34" charset="0"/>
                <a:cs typeface="Calibri" panose="020F0502020204030204" pitchFamily="34" charset="0"/>
              </a:rPr>
              <a:t>(includes the KR Dashbo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Institutional Proposal</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Negotiations</a:t>
            </a:r>
          </a:p>
          <a:p>
            <a:pPr eaLnBrk="0" fontAlgn="base" hangingPunct="0">
              <a:lnSpc>
                <a:spcPct val="85000"/>
              </a:lnSpc>
              <a:spcBef>
                <a:spcPct val="0"/>
              </a:spcBef>
              <a:spcAft>
                <a:spcPct val="0"/>
              </a:spcAft>
            </a:pPr>
            <a:endParaRPr lang="en-US" dirty="0">
              <a:solidFill>
                <a:schemeClr val="bg1"/>
              </a:solidFill>
              <a:latin typeface="Calibri" panose="020F0502020204030204" pitchFamily="34" charset="0"/>
              <a:cs typeface="Calibri" panose="020F0502020204030204" pitchFamily="34" charset="0"/>
            </a:endParaRPr>
          </a:p>
          <a:p>
            <a:pPr eaLnBrk="0" fontAlgn="base" hangingPunct="0">
              <a:lnSpc>
                <a:spcPct val="85000"/>
              </a:lnSpc>
              <a:spcBef>
                <a:spcPct val="0"/>
              </a:spcBef>
              <a:spcAft>
                <a:spcPct val="0"/>
              </a:spcAft>
            </a:pPr>
            <a:r>
              <a:rPr lang="en-US" b="1" dirty="0">
                <a:solidFill>
                  <a:schemeClr val="bg1"/>
                </a:solidFill>
                <a:latin typeface="Calibri" panose="020F0502020204030204" pitchFamily="34" charset="0"/>
                <a:cs typeface="Calibri" panose="020F0502020204030204" pitchFamily="34" charset="0"/>
              </a:rPr>
              <a:t>Pos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Award</a:t>
            </a:r>
          </a:p>
          <a:p>
            <a:pPr marL="285750" indent="-285750" eaLnBrk="0" fontAlgn="base" hangingPunct="0">
              <a:lnSpc>
                <a:spcPct val="85000"/>
              </a:lnSpc>
              <a:spcBef>
                <a:spcPct val="0"/>
              </a:spcBef>
              <a:spcAft>
                <a:spcPct val="0"/>
              </a:spcAft>
              <a:buFont typeface="Arial" panose="020B0604020202020204" pitchFamily="34" charset="0"/>
              <a:buChar char="•"/>
            </a:pPr>
            <a:r>
              <a:rPr lang="en-US" dirty="0">
                <a:solidFill>
                  <a:schemeClr val="bg1"/>
                </a:solidFill>
                <a:latin typeface="Calibri" panose="020F0502020204030204" pitchFamily="34" charset="0"/>
                <a:cs typeface="Calibri" panose="020F0502020204030204" pitchFamily="34" charset="0"/>
              </a:rPr>
              <a:t>Subaward</a:t>
            </a:r>
          </a:p>
        </p:txBody>
      </p:sp>
      <p:sp>
        <p:nvSpPr>
          <p:cNvPr id="14" name="TextBox 13"/>
          <p:cNvSpPr txBox="1"/>
          <p:nvPr/>
        </p:nvSpPr>
        <p:spPr>
          <a:xfrm>
            <a:off x="8068375" y="2186151"/>
            <a:ext cx="3613551" cy="978729"/>
          </a:xfrm>
          <a:prstGeom prst="rect">
            <a:avLst/>
          </a:prstGeom>
          <a:noFill/>
          <a:effectLst/>
        </p:spPr>
        <p:txBody>
          <a:bodyPr wrap="square" rtlCol="0">
            <a:spAutoFit/>
          </a:bodyPr>
          <a:lstStyle/>
          <a:p>
            <a:pPr algn="ctr" eaLnBrk="0" fontAlgn="base" hangingPunct="0">
              <a:spcBef>
                <a:spcPct val="0"/>
              </a:spcBef>
              <a:spcAft>
                <a:spcPct val="0"/>
              </a:spcAft>
            </a:pPr>
            <a:r>
              <a:rPr lang="en-US" sz="2800" b="1" dirty="0" err="1">
                <a:solidFill>
                  <a:schemeClr val="bg1">
                    <a:lumMod val="65000"/>
                  </a:schemeClr>
                </a:solidFill>
                <a:latin typeface="Calibri" panose="020F0502020204030204" pitchFamily="34" charset="0"/>
                <a:cs typeface="Calibri" panose="020F0502020204030204" pitchFamily="34" charset="0"/>
              </a:rPr>
              <a:t>Kuali</a:t>
            </a:r>
            <a:r>
              <a:rPr lang="en-US" sz="2800" b="1" dirty="0">
                <a:solidFill>
                  <a:schemeClr val="bg1">
                    <a:lumMod val="65000"/>
                  </a:schemeClr>
                </a:solidFill>
                <a:latin typeface="Calibri" panose="020F0502020204030204" pitchFamily="34" charset="0"/>
                <a:cs typeface="Calibri" panose="020F0502020204030204" pitchFamily="34" charset="0"/>
              </a:rPr>
              <a:t> </a:t>
            </a:r>
            <a:r>
              <a:rPr lang="en-US" sz="2800" b="1" dirty="0" smtClean="0">
                <a:solidFill>
                  <a:schemeClr val="bg1">
                    <a:lumMod val="65000"/>
                  </a:schemeClr>
                </a:solidFill>
                <a:latin typeface="Calibri" panose="020F0502020204030204" pitchFamily="34" charset="0"/>
                <a:cs typeface="Calibri" panose="020F0502020204030204" pitchFamily="34" charset="0"/>
              </a:rPr>
              <a:t>Protocols</a:t>
            </a:r>
            <a:endParaRPr lang="en-US" sz="2800" b="1" dirty="0">
              <a:solidFill>
                <a:schemeClr val="bg1">
                  <a:lumMod val="65000"/>
                </a:schemeClr>
              </a:solidFill>
              <a:latin typeface="Calibri" panose="020F0502020204030204" pitchFamily="34" charset="0"/>
              <a:cs typeface="Calibri" panose="020F0502020204030204" pitchFamily="34" charset="0"/>
            </a:endParaRPr>
          </a:p>
          <a:p>
            <a:pPr algn="ctr" eaLnBrk="0" fontAlgn="base" hangingPunct="0">
              <a:spcBef>
                <a:spcPct val="0"/>
              </a:spcBef>
              <a:spcAft>
                <a:spcPct val="0"/>
              </a:spcAft>
            </a:pPr>
            <a:r>
              <a:rPr lang="en-US" sz="1600" dirty="0">
                <a:solidFill>
                  <a:schemeClr val="bg1">
                    <a:lumMod val="65000"/>
                  </a:schemeClr>
                </a:solidFill>
                <a:latin typeface="Calibri" panose="020F0502020204030204" pitchFamily="34" charset="0"/>
                <a:cs typeface="Calibri" panose="020F0502020204030204" pitchFamily="34" charset="0"/>
              </a:rPr>
              <a:t>Human Subjects Protocols</a:t>
            </a:r>
          </a:p>
          <a:p>
            <a:pPr algn="ctr" eaLnBrk="0" fontAlgn="base" hangingPunct="0">
              <a:lnSpc>
                <a:spcPct val="85000"/>
              </a:lnSpc>
              <a:spcBef>
                <a:spcPct val="0"/>
              </a:spcBef>
              <a:spcAft>
                <a:spcPct val="0"/>
              </a:spcAft>
            </a:pPr>
            <a:r>
              <a:rPr lang="en-US" sz="1400" dirty="0">
                <a:solidFill>
                  <a:schemeClr val="bg1">
                    <a:lumMod val="65000"/>
                  </a:schemeClr>
                </a:solidFill>
                <a:latin typeface="Calibri" panose="020F0502020204030204" pitchFamily="34" charset="0"/>
                <a:cs typeface="Calibri" panose="020F0502020204030204" pitchFamily="34" charset="0"/>
              </a:rPr>
              <a:t>(replacing legacy system)</a:t>
            </a:r>
          </a:p>
        </p:txBody>
      </p:sp>
      <p:sp>
        <p:nvSpPr>
          <p:cNvPr id="3" name="TextBox 2"/>
          <p:cNvSpPr txBox="1"/>
          <p:nvPr/>
        </p:nvSpPr>
        <p:spPr>
          <a:xfrm>
            <a:off x="1042710" y="5966987"/>
            <a:ext cx="3165396" cy="338554"/>
          </a:xfrm>
          <a:prstGeom prst="rect">
            <a:avLst/>
          </a:prstGeom>
          <a:noFill/>
        </p:spPr>
        <p:txBody>
          <a:bodyPr wrap="square" rtlCol="0">
            <a:spAutoFit/>
          </a:bodyPr>
          <a:lstStyle/>
          <a:p>
            <a:r>
              <a:rPr lang="en-US" sz="1600" b="1" dirty="0">
                <a:solidFill>
                  <a:schemeClr val="bg1">
                    <a:lumMod val="65000"/>
                  </a:schemeClr>
                </a:solidFill>
                <a:latin typeface="Calibri" panose="020F0502020204030204" pitchFamily="34" charset="0"/>
                <a:cs typeface="Calibri" panose="020F0502020204030204" pitchFamily="34" charset="0"/>
              </a:rPr>
              <a:t>Project Sponsor: </a:t>
            </a:r>
            <a:r>
              <a:rPr lang="en-US" sz="1600" dirty="0">
                <a:solidFill>
                  <a:schemeClr val="bg1">
                    <a:lumMod val="65000"/>
                  </a:schemeClr>
                </a:solidFill>
                <a:latin typeface="Calibri" panose="020F0502020204030204" pitchFamily="34" charset="0"/>
                <a:cs typeface="Calibri" panose="020F0502020204030204" pitchFamily="34" charset="0"/>
              </a:rPr>
              <a:t>Sandra A. Brown</a:t>
            </a:r>
          </a:p>
        </p:txBody>
      </p:sp>
      <p:sp>
        <p:nvSpPr>
          <p:cNvPr id="10" name="TextBox 9"/>
          <p:cNvSpPr txBox="1"/>
          <p:nvPr/>
        </p:nvSpPr>
        <p:spPr>
          <a:xfrm>
            <a:off x="4537115" y="5985771"/>
            <a:ext cx="3165396" cy="338554"/>
          </a:xfrm>
          <a:prstGeom prst="rect">
            <a:avLst/>
          </a:prstGeom>
          <a:noFill/>
        </p:spPr>
        <p:txBody>
          <a:bodyPr wrap="square" rtlCol="0">
            <a:spAutoFit/>
          </a:bodyPr>
          <a:lstStyle/>
          <a:p>
            <a:r>
              <a:rPr lang="en-US" sz="1600" b="1" dirty="0">
                <a:solidFill>
                  <a:schemeClr val="bg1"/>
                </a:solidFill>
              </a:rPr>
              <a:t>Project Sponsor: </a:t>
            </a:r>
            <a:r>
              <a:rPr lang="en-US" sz="1600" dirty="0">
                <a:solidFill>
                  <a:schemeClr val="bg1"/>
                </a:solidFill>
              </a:rPr>
              <a:t>Sandra A. Brown</a:t>
            </a:r>
          </a:p>
        </p:txBody>
      </p:sp>
      <p:sp>
        <p:nvSpPr>
          <p:cNvPr id="11" name="TextBox 10"/>
          <p:cNvSpPr txBox="1"/>
          <p:nvPr/>
        </p:nvSpPr>
        <p:spPr>
          <a:xfrm>
            <a:off x="8199872" y="5962382"/>
            <a:ext cx="3165396" cy="338554"/>
          </a:xfrm>
          <a:prstGeom prst="rect">
            <a:avLst/>
          </a:prstGeom>
          <a:noFill/>
        </p:spPr>
        <p:txBody>
          <a:bodyPr wrap="square" rtlCol="0">
            <a:spAutoFit/>
          </a:bodyPr>
          <a:lstStyle/>
          <a:p>
            <a:r>
              <a:rPr lang="en-US" sz="1600" b="1" dirty="0">
                <a:solidFill>
                  <a:schemeClr val="bg1">
                    <a:lumMod val="65000"/>
                  </a:schemeClr>
                </a:solidFill>
              </a:rPr>
              <a:t>Project Sponsor: </a:t>
            </a:r>
            <a:r>
              <a:rPr lang="en-US" sz="1600" dirty="0">
                <a:solidFill>
                  <a:schemeClr val="bg1">
                    <a:lumMod val="65000"/>
                  </a:schemeClr>
                </a:solidFill>
              </a:rPr>
              <a:t>Gary Firestein</a:t>
            </a:r>
          </a:p>
        </p:txBody>
      </p:sp>
      <p:sp>
        <p:nvSpPr>
          <p:cNvPr id="4" name="Title 3"/>
          <p:cNvSpPr>
            <a:spLocks noGrp="1"/>
          </p:cNvSpPr>
          <p:nvPr>
            <p:ph type="title"/>
          </p:nvPr>
        </p:nvSpPr>
        <p:spPr/>
        <p:txBody>
          <a:bodyPr/>
          <a:lstStyle/>
          <a:p>
            <a:r>
              <a:rPr lang="en-US" dirty="0" err="1"/>
              <a:t>Kuali</a:t>
            </a:r>
            <a:r>
              <a:rPr lang="en-US" dirty="0"/>
              <a:t> Initiatives at UC San Diego</a:t>
            </a:r>
          </a:p>
        </p:txBody>
      </p:sp>
      <p:sp>
        <p:nvSpPr>
          <p:cNvPr id="6" name="Text Placeholder 5"/>
          <p:cNvSpPr>
            <a:spLocks noGrp="1"/>
          </p:cNvSpPr>
          <p:nvPr>
            <p:ph type="body" sz="quarter" idx="13"/>
          </p:nvPr>
        </p:nvSpPr>
        <p:spPr/>
        <p:txBody>
          <a:bodyPr/>
          <a:lstStyle/>
          <a:p>
            <a:r>
              <a:rPr lang="en-US" dirty="0"/>
              <a:t>ESR </a:t>
            </a:r>
            <a:r>
              <a:rPr lang="en-US" dirty="0" err="1"/>
              <a:t>Kuali</a:t>
            </a:r>
            <a:r>
              <a:rPr lang="en-US" dirty="0"/>
              <a:t> project updates</a:t>
            </a:r>
          </a:p>
        </p:txBody>
      </p:sp>
      <p:sp>
        <p:nvSpPr>
          <p:cNvPr id="29" name="Rectangle 28"/>
          <p:cNvSpPr/>
          <p:nvPr/>
        </p:nvSpPr>
        <p:spPr>
          <a:xfrm>
            <a:off x="9341708" y="3164880"/>
            <a:ext cx="2233522" cy="2862322"/>
          </a:xfrm>
          <a:prstGeom prst="rect">
            <a:avLst/>
          </a:prstGeom>
        </p:spPr>
        <p:txBody>
          <a:bodyPr wrap="square">
            <a:spAutoFit/>
          </a:bodyPr>
          <a:lstStyle/>
          <a:p>
            <a:pPr marL="285750" indent="-285750">
              <a:buFont typeface="Arial" panose="020B0604020202020204" pitchFamily="34" charset="0"/>
              <a:buChar char="•"/>
            </a:pPr>
            <a:r>
              <a:rPr lang="en-US" dirty="0">
                <a:solidFill>
                  <a:srgbClr val="BFBFBF"/>
                </a:solidFill>
              </a:rPr>
              <a:t>PIs prepare and submit</a:t>
            </a:r>
          </a:p>
          <a:p>
            <a:pPr marL="742950" lvl="1" indent="-285750">
              <a:buFont typeface="Arial" panose="020B0604020202020204" pitchFamily="34" charset="0"/>
              <a:buChar char="•"/>
            </a:pPr>
            <a:r>
              <a:rPr lang="en-US" dirty="0">
                <a:solidFill>
                  <a:srgbClr val="BFBFBF"/>
                </a:solidFill>
              </a:rPr>
              <a:t>New Studies</a:t>
            </a:r>
          </a:p>
          <a:p>
            <a:pPr marL="742950" lvl="1" indent="-285750">
              <a:buFont typeface="Arial" panose="020B0604020202020204" pitchFamily="34" charset="0"/>
              <a:buChar char="•"/>
            </a:pPr>
            <a:r>
              <a:rPr lang="en-US" dirty="0">
                <a:solidFill>
                  <a:srgbClr val="BFBFBF"/>
                </a:solidFill>
              </a:rPr>
              <a:t>Modifications</a:t>
            </a:r>
          </a:p>
          <a:p>
            <a:pPr marL="742950" lvl="1" indent="-285750">
              <a:buFont typeface="Arial" panose="020B0604020202020204" pitchFamily="34" charset="0"/>
              <a:buChar char="•"/>
            </a:pPr>
            <a:r>
              <a:rPr lang="en-US" dirty="0">
                <a:solidFill>
                  <a:srgbClr val="BFBFBF"/>
                </a:solidFill>
              </a:rPr>
              <a:t>Renewals</a:t>
            </a:r>
          </a:p>
          <a:p>
            <a:pPr marL="742950" lvl="1" indent="-285750">
              <a:buFont typeface="Arial" panose="020B0604020202020204" pitchFamily="34" charset="0"/>
              <a:buChar char="•"/>
            </a:pPr>
            <a:r>
              <a:rPr lang="en-US" dirty="0">
                <a:solidFill>
                  <a:srgbClr val="BFBFBF"/>
                </a:solidFill>
              </a:rPr>
              <a:t>Reports</a:t>
            </a:r>
          </a:p>
          <a:p>
            <a:pPr marL="285750" indent="-285750">
              <a:buFont typeface="Arial" panose="020B0604020202020204" pitchFamily="34" charset="0"/>
              <a:buChar char="•"/>
            </a:pPr>
            <a:r>
              <a:rPr lang="en-US" dirty="0">
                <a:solidFill>
                  <a:srgbClr val="BFBFBF"/>
                </a:solidFill>
              </a:rPr>
              <a:t>For review by</a:t>
            </a:r>
          </a:p>
          <a:p>
            <a:pPr marL="742950" lvl="1" indent="-285750">
              <a:buFont typeface="Arial" panose="020B0604020202020204" pitchFamily="34" charset="0"/>
              <a:buChar char="•"/>
            </a:pPr>
            <a:r>
              <a:rPr lang="en-US" dirty="0">
                <a:solidFill>
                  <a:srgbClr val="BFBFBF"/>
                </a:solidFill>
              </a:rPr>
              <a:t>IRBs</a:t>
            </a:r>
          </a:p>
          <a:p>
            <a:pPr marL="742950" lvl="1" indent="-285750">
              <a:buFont typeface="Arial" panose="020B0604020202020204" pitchFamily="34" charset="0"/>
              <a:buChar char="•"/>
            </a:pPr>
            <a:r>
              <a:rPr lang="en-US" dirty="0">
                <a:solidFill>
                  <a:srgbClr val="BFBFBF"/>
                </a:solidFill>
              </a:rPr>
              <a:t>SCRO</a:t>
            </a:r>
          </a:p>
          <a:p>
            <a:pPr marL="742950" lvl="1" indent="-285750">
              <a:buFont typeface="Arial" panose="020B0604020202020204" pitchFamily="34" charset="0"/>
              <a:buChar char="•"/>
            </a:pPr>
            <a:r>
              <a:rPr lang="en-US" dirty="0">
                <a:solidFill>
                  <a:srgbClr val="BFBFBF"/>
                </a:solidFill>
              </a:rPr>
              <a:t>HRPP</a:t>
            </a:r>
          </a:p>
        </p:txBody>
      </p:sp>
    </p:spTree>
    <p:extLst>
      <p:ext uri="{BB962C8B-B14F-4D97-AF65-F5344CB8AC3E}">
        <p14:creationId xmlns:p14="http://schemas.microsoft.com/office/powerpoint/2010/main" val="1991291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Kuali</a:t>
            </a:r>
            <a:r>
              <a:rPr lang="en-US" dirty="0" smtClean="0"/>
              <a:t> Research Project Update</a:t>
            </a:r>
            <a:endParaRPr lang="en-US" dirty="0"/>
          </a:p>
        </p:txBody>
      </p:sp>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smtClean="0"/>
              <a:t>General status update regarding progress since last quarter, activities for next quarter, risks/issues and project timeline.  </a:t>
            </a:r>
            <a:endParaRPr lang="en-US" dirty="0"/>
          </a:p>
        </p:txBody>
      </p:sp>
      <p:sp>
        <p:nvSpPr>
          <p:cNvPr id="4" name="Slide Number Placeholder 3"/>
          <p:cNvSpPr>
            <a:spLocks noGrp="1"/>
          </p:cNvSpPr>
          <p:nvPr>
            <p:ph type="sldNum" sz="quarter" idx="12"/>
          </p:nvPr>
        </p:nvSpPr>
        <p:spPr/>
        <p:txBody>
          <a:bodyPr/>
          <a:lstStyle/>
          <a:p>
            <a:fld id="{D0A8BD7E-3FB1-46E0-88A2-F69CF9BE5AD3}" type="slidenum">
              <a:rPr lang="en-US" smtClean="0"/>
              <a:pPr/>
              <a:t>6</a:t>
            </a:fld>
            <a:endParaRPr lang="en-US" dirty="0"/>
          </a:p>
        </p:txBody>
      </p:sp>
      <p:graphicFrame>
        <p:nvGraphicFramePr>
          <p:cNvPr id="5" name="Diagram 4"/>
          <p:cNvGraphicFramePr/>
          <p:nvPr>
            <p:extLst>
              <p:ext uri="{D42A27DB-BD31-4B8C-83A1-F6EECF244321}">
                <p14:modId xmlns:p14="http://schemas.microsoft.com/office/powerpoint/2010/main" val="786849765"/>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298290683"/>
              </p:ext>
            </p:extLst>
          </p:nvPr>
        </p:nvGraphicFramePr>
        <p:xfrm>
          <a:off x="335559" y="2542500"/>
          <a:ext cx="11492917"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TextBox 6"/>
          <p:cNvSpPr txBox="1"/>
          <p:nvPr/>
        </p:nvSpPr>
        <p:spPr>
          <a:xfrm>
            <a:off x="5478529" y="5938688"/>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t>We are here</a:t>
            </a:r>
            <a:endParaRPr lang="en-US" dirty="0"/>
          </a:p>
        </p:txBody>
      </p:sp>
      <p:cxnSp>
        <p:nvCxnSpPr>
          <p:cNvPr id="9" name="Elbow Connector 8"/>
          <p:cNvCxnSpPr>
            <a:stCxn id="7" idx="1"/>
          </p:cNvCxnSpPr>
          <p:nvPr/>
        </p:nvCxnSpPr>
        <p:spPr>
          <a:xfrm rot="10800000">
            <a:off x="5310251" y="5764820"/>
            <a:ext cx="168279" cy="358534"/>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10" name="TextBox 9"/>
          <p:cNvSpPr txBox="1"/>
          <p:nvPr/>
        </p:nvSpPr>
        <p:spPr>
          <a:xfrm>
            <a:off x="327377" y="5506861"/>
            <a:ext cx="1176746" cy="253916"/>
          </a:xfrm>
          <a:prstGeom prst="rect">
            <a:avLst/>
          </a:prstGeom>
          <a:noFill/>
        </p:spPr>
        <p:txBody>
          <a:bodyPr wrap="square" rtlCol="0">
            <a:spAutoFit/>
          </a:bodyPr>
          <a:lstStyle/>
          <a:p>
            <a:pPr algn="ctr"/>
            <a:r>
              <a:rPr lang="en-US" sz="1050" dirty="0" smtClean="0">
                <a:solidFill>
                  <a:schemeClr val="bg1">
                    <a:lumMod val="50000"/>
                  </a:schemeClr>
                </a:solidFill>
              </a:rPr>
              <a:t>Oct – Dec 2017</a:t>
            </a:r>
            <a:endParaRPr lang="en-US" sz="1050" dirty="0">
              <a:solidFill>
                <a:schemeClr val="bg1">
                  <a:lumMod val="50000"/>
                </a:schemeClr>
              </a:solidFill>
            </a:endParaRPr>
          </a:p>
        </p:txBody>
      </p:sp>
      <p:sp>
        <p:nvSpPr>
          <p:cNvPr id="11" name="TextBox 10"/>
          <p:cNvSpPr txBox="1"/>
          <p:nvPr/>
        </p:nvSpPr>
        <p:spPr>
          <a:xfrm>
            <a:off x="1583700" y="5506861"/>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18</a:t>
            </a:r>
            <a:endParaRPr lang="en-US" sz="1050" dirty="0">
              <a:solidFill>
                <a:schemeClr val="bg1">
                  <a:lumMod val="50000"/>
                </a:schemeClr>
              </a:solidFill>
            </a:endParaRPr>
          </a:p>
        </p:txBody>
      </p:sp>
      <p:sp>
        <p:nvSpPr>
          <p:cNvPr id="12" name="TextBox 11"/>
          <p:cNvSpPr txBox="1"/>
          <p:nvPr/>
        </p:nvSpPr>
        <p:spPr>
          <a:xfrm>
            <a:off x="2739237" y="5510905"/>
            <a:ext cx="1335900" cy="253916"/>
          </a:xfrm>
          <a:prstGeom prst="rect">
            <a:avLst/>
          </a:prstGeom>
          <a:noFill/>
        </p:spPr>
        <p:txBody>
          <a:bodyPr wrap="square" rtlCol="0">
            <a:spAutoFit/>
          </a:bodyPr>
          <a:lstStyle/>
          <a:p>
            <a:pPr algn="ctr"/>
            <a:r>
              <a:rPr lang="en-US" sz="1050" dirty="0">
                <a:solidFill>
                  <a:schemeClr val="bg1">
                    <a:lumMod val="50000"/>
                  </a:schemeClr>
                </a:solidFill>
              </a:rPr>
              <a:t>Apr 2018 – Apr 2019</a:t>
            </a:r>
          </a:p>
        </p:txBody>
      </p:sp>
      <p:sp>
        <p:nvSpPr>
          <p:cNvPr id="13" name="TextBox 12"/>
          <p:cNvSpPr txBox="1"/>
          <p:nvPr/>
        </p:nvSpPr>
        <p:spPr>
          <a:xfrm>
            <a:off x="3915983" y="5510905"/>
            <a:ext cx="1415477" cy="253916"/>
          </a:xfrm>
          <a:prstGeom prst="rect">
            <a:avLst/>
          </a:prstGeom>
          <a:noFill/>
        </p:spPr>
        <p:txBody>
          <a:bodyPr wrap="square" rtlCol="0">
            <a:spAutoFit/>
          </a:bodyPr>
          <a:lstStyle/>
          <a:p>
            <a:pPr algn="ctr"/>
            <a:r>
              <a:rPr lang="en-US" sz="1050" dirty="0" smtClean="0">
                <a:solidFill>
                  <a:schemeClr val="accent2"/>
                </a:solidFill>
              </a:rPr>
              <a:t>Aug 2018 – May 2019</a:t>
            </a:r>
            <a:endParaRPr lang="en-US" sz="1050" dirty="0">
              <a:solidFill>
                <a:schemeClr val="accent2"/>
              </a:solidFill>
            </a:endParaRPr>
          </a:p>
        </p:txBody>
      </p:sp>
      <p:sp>
        <p:nvSpPr>
          <p:cNvPr id="14" name="TextBox 13"/>
          <p:cNvSpPr txBox="1"/>
          <p:nvPr/>
        </p:nvSpPr>
        <p:spPr>
          <a:xfrm>
            <a:off x="5352669" y="5510905"/>
            <a:ext cx="1176746" cy="253916"/>
          </a:xfrm>
          <a:prstGeom prst="rect">
            <a:avLst/>
          </a:prstGeom>
          <a:noFill/>
        </p:spPr>
        <p:txBody>
          <a:bodyPr wrap="square" rtlCol="0">
            <a:spAutoFit/>
          </a:bodyPr>
          <a:lstStyle/>
          <a:p>
            <a:pPr algn="ctr"/>
            <a:r>
              <a:rPr lang="en-US" sz="1050" dirty="0">
                <a:solidFill>
                  <a:schemeClr val="accent2"/>
                </a:solidFill>
              </a:rPr>
              <a:t>May – Nov 2019</a:t>
            </a:r>
          </a:p>
        </p:txBody>
      </p:sp>
      <p:sp>
        <p:nvSpPr>
          <p:cNvPr id="15" name="TextBox 14"/>
          <p:cNvSpPr txBox="1"/>
          <p:nvPr/>
        </p:nvSpPr>
        <p:spPr>
          <a:xfrm>
            <a:off x="6449839" y="5503789"/>
            <a:ext cx="1335900" cy="253916"/>
          </a:xfrm>
          <a:prstGeom prst="rect">
            <a:avLst/>
          </a:prstGeom>
          <a:noFill/>
        </p:spPr>
        <p:txBody>
          <a:bodyPr wrap="square" rtlCol="0">
            <a:spAutoFit/>
          </a:bodyPr>
          <a:lstStyle/>
          <a:p>
            <a:pPr algn="ctr"/>
            <a:r>
              <a:rPr lang="en-US" sz="1050" dirty="0" smtClean="0">
                <a:solidFill>
                  <a:schemeClr val="bg1">
                    <a:lumMod val="50000"/>
                  </a:schemeClr>
                </a:solidFill>
              </a:rPr>
              <a:t>Dec 2019 – Jan 2020</a:t>
            </a:r>
            <a:endParaRPr lang="en-US" sz="1050" dirty="0">
              <a:solidFill>
                <a:schemeClr val="bg1">
                  <a:lumMod val="50000"/>
                </a:schemeClr>
              </a:solidFill>
            </a:endParaRPr>
          </a:p>
        </p:txBody>
      </p:sp>
      <p:sp>
        <p:nvSpPr>
          <p:cNvPr id="16" name="TextBox 15"/>
          <p:cNvSpPr txBox="1"/>
          <p:nvPr/>
        </p:nvSpPr>
        <p:spPr>
          <a:xfrm>
            <a:off x="7785738" y="5510904"/>
            <a:ext cx="1256323" cy="253916"/>
          </a:xfrm>
          <a:prstGeom prst="rect">
            <a:avLst/>
          </a:prstGeom>
          <a:noFill/>
        </p:spPr>
        <p:txBody>
          <a:bodyPr wrap="square" rtlCol="0">
            <a:spAutoFit/>
          </a:bodyPr>
          <a:lstStyle/>
          <a:p>
            <a:pPr algn="ctr"/>
            <a:r>
              <a:rPr lang="en-US" sz="1050" dirty="0" smtClean="0">
                <a:solidFill>
                  <a:schemeClr val="accent2"/>
                </a:solidFill>
              </a:rPr>
              <a:t>Jan 21, 2020</a:t>
            </a:r>
            <a:endParaRPr lang="en-US" sz="1050" dirty="0">
              <a:solidFill>
                <a:schemeClr val="accent2"/>
              </a:solidFill>
            </a:endParaRPr>
          </a:p>
        </p:txBody>
      </p:sp>
      <p:sp>
        <p:nvSpPr>
          <p:cNvPr id="17" name="TextBox 16"/>
          <p:cNvSpPr txBox="1"/>
          <p:nvPr/>
        </p:nvSpPr>
        <p:spPr>
          <a:xfrm>
            <a:off x="9121638" y="5510905"/>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20</a:t>
            </a:r>
            <a:endParaRPr lang="en-US" sz="1050" dirty="0">
              <a:solidFill>
                <a:schemeClr val="bg1">
                  <a:lumMod val="50000"/>
                </a:schemeClr>
              </a:solidFill>
            </a:endParaRPr>
          </a:p>
        </p:txBody>
      </p:sp>
      <p:sp>
        <p:nvSpPr>
          <p:cNvPr id="18" name="TextBox 17"/>
          <p:cNvSpPr txBox="1"/>
          <p:nvPr/>
        </p:nvSpPr>
        <p:spPr>
          <a:xfrm>
            <a:off x="10377961" y="5503789"/>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Jun 2020</a:t>
            </a:r>
            <a:endParaRPr lang="en-US" sz="1050" dirty="0">
              <a:solidFill>
                <a:schemeClr val="bg1">
                  <a:lumMod val="50000"/>
                </a:schemeClr>
              </a:solidFill>
            </a:endParaRPr>
          </a:p>
        </p:txBody>
      </p:sp>
    </p:spTree>
    <p:extLst>
      <p:ext uri="{BB962C8B-B14F-4D97-AF65-F5344CB8AC3E}">
        <p14:creationId xmlns:p14="http://schemas.microsoft.com/office/powerpoint/2010/main" val="2812200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2513463711"/>
              </p:ext>
            </p:extLst>
          </p:nvPr>
        </p:nvGraphicFramePr>
        <p:xfrm>
          <a:off x="335560" y="2542500"/>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ubtitle 7">
            <a:extLst>
              <a:ext uri="{FF2B5EF4-FFF2-40B4-BE49-F238E27FC236}">
                <a16:creationId xmlns:a16="http://schemas.microsoft.com/office/drawing/2014/main" id="{9C78CAB1-546F-404D-A556-98B5A8831404}"/>
              </a:ext>
            </a:extLst>
          </p:cNvPr>
          <p:cNvSpPr>
            <a:spLocks noGrp="1"/>
          </p:cNvSpPr>
          <p:nvPr>
            <p:ph type="subTitle" idx="1"/>
          </p:nvPr>
        </p:nvSpPr>
        <p:spPr/>
        <p:txBody>
          <a:bodyPr/>
          <a:lstStyle/>
          <a:p>
            <a:r>
              <a:rPr lang="en-US" dirty="0"/>
              <a:t>Discuss resourcing needs; Finalize statements of work and discuss prioritization of domain implementation.</a:t>
            </a:r>
          </a:p>
        </p:txBody>
      </p:sp>
      <p:sp>
        <p:nvSpPr>
          <p:cNvPr id="4" name="Slide Number Placeholder 3"/>
          <p:cNvSpPr>
            <a:spLocks noGrp="1"/>
          </p:cNvSpPr>
          <p:nvPr>
            <p:ph type="sldNum" sz="quarter" idx="12"/>
          </p:nvPr>
        </p:nvSpPr>
        <p:spPr/>
        <p:txBody>
          <a:bodyPr/>
          <a:lstStyle/>
          <a:p>
            <a:fld id="{D0A8BD7E-3FB1-46E0-88A2-F69CF9BE5AD3}" type="slidenum">
              <a:rPr lang="en-US" smtClean="0"/>
              <a:pPr/>
              <a:t>7</a:t>
            </a:fld>
            <a:endParaRPr lang="en-US" dirty="0"/>
          </a:p>
        </p:txBody>
      </p:sp>
      <p:sp>
        <p:nvSpPr>
          <p:cNvPr id="2" name="Title 1"/>
          <p:cNvSpPr>
            <a:spLocks noGrp="1"/>
          </p:cNvSpPr>
          <p:nvPr>
            <p:ph type="ctrTitle"/>
          </p:nvPr>
        </p:nvSpPr>
        <p:spPr>
          <a:xfrm>
            <a:off x="436604" y="1494289"/>
            <a:ext cx="11145795" cy="2387600"/>
          </a:xfrm>
        </p:spPr>
        <p:txBody>
          <a:bodyPr/>
          <a:lstStyle/>
          <a:p>
            <a:r>
              <a:rPr lang="en-US" dirty="0" smtClean="0"/>
              <a:t>Initiate</a:t>
            </a:r>
            <a:endParaRPr lang="en-US" dirty="0"/>
          </a:p>
        </p:txBody>
      </p:sp>
      <p:sp>
        <p:nvSpPr>
          <p:cNvPr id="6" name="TextBox 5"/>
          <p:cNvSpPr txBox="1"/>
          <p:nvPr/>
        </p:nvSpPr>
        <p:spPr>
          <a:xfrm>
            <a:off x="327377" y="5506861"/>
            <a:ext cx="1176746" cy="253916"/>
          </a:xfrm>
          <a:prstGeom prst="rect">
            <a:avLst/>
          </a:prstGeom>
          <a:noFill/>
        </p:spPr>
        <p:txBody>
          <a:bodyPr wrap="square" rtlCol="0">
            <a:spAutoFit/>
          </a:bodyPr>
          <a:lstStyle/>
          <a:p>
            <a:pPr algn="ctr"/>
            <a:r>
              <a:rPr lang="en-US" sz="1050" dirty="0">
                <a:solidFill>
                  <a:srgbClr val="2E75B6"/>
                </a:solidFill>
              </a:rPr>
              <a:t>Oct – Dec 2017</a:t>
            </a:r>
          </a:p>
        </p:txBody>
      </p:sp>
    </p:spTree>
    <p:extLst>
      <p:ext uri="{BB962C8B-B14F-4D97-AF65-F5344CB8AC3E}">
        <p14:creationId xmlns:p14="http://schemas.microsoft.com/office/powerpoint/2010/main" val="22322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Kuali</a:t>
            </a:r>
            <a:r>
              <a:rPr lang="en-US" dirty="0" smtClean="0"/>
              <a:t> Research Project</a:t>
            </a:r>
            <a:endParaRPr lang="en-US" dirty="0"/>
          </a:p>
        </p:txBody>
      </p:sp>
      <p:sp>
        <p:nvSpPr>
          <p:cNvPr id="5" name="Content Placeholder 4"/>
          <p:cNvSpPr>
            <a:spLocks noGrp="1"/>
          </p:cNvSpPr>
          <p:nvPr>
            <p:ph idx="1"/>
          </p:nvPr>
        </p:nvSpPr>
        <p:spPr/>
        <p:txBody>
          <a:bodyPr/>
          <a:lstStyle/>
          <a:p>
            <a:r>
              <a:rPr lang="en-US" dirty="0" smtClean="0"/>
              <a:t>Implement </a:t>
            </a:r>
            <a:r>
              <a:rPr lang="en-US" dirty="0"/>
              <a:t>an integrated Electronic Research Administration solution that increases Faculty/Researcher productivity, improves financial/research compliance to mitigate risk, is closely aligned with lean/streamlined business operations, takes advantage of existing system functionality as appropriate and is integrated with current/future systems for the transfer of data between enterprise systems.  The impact of this modernization and alignment effort will affect more than 800 end users, over $4B in submitted proposals and over $1B in annual expenditures.</a:t>
            </a:r>
          </a:p>
          <a:p>
            <a:endParaRPr lang="en-US" dirty="0"/>
          </a:p>
        </p:txBody>
      </p:sp>
      <p:sp>
        <p:nvSpPr>
          <p:cNvPr id="6" name="Text Placeholder 5"/>
          <p:cNvSpPr>
            <a:spLocks noGrp="1"/>
          </p:cNvSpPr>
          <p:nvPr>
            <p:ph type="body" sz="quarter" idx="13"/>
          </p:nvPr>
        </p:nvSpPr>
        <p:spPr/>
        <p:txBody>
          <a:bodyPr/>
          <a:lstStyle/>
          <a:p>
            <a:r>
              <a:rPr lang="en-US" dirty="0"/>
              <a:t>Business Case</a:t>
            </a:r>
          </a:p>
        </p:txBody>
      </p:sp>
    </p:spTree>
    <p:extLst>
      <p:ext uri="{BB962C8B-B14F-4D97-AF65-F5344CB8AC3E}">
        <p14:creationId xmlns:p14="http://schemas.microsoft.com/office/powerpoint/2010/main" val="3220742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err="1" smtClean="0"/>
              <a:t>Kuali</a:t>
            </a:r>
            <a:r>
              <a:rPr lang="en-US" dirty="0" smtClean="0"/>
              <a:t> Research Project</a:t>
            </a:r>
            <a:endParaRPr lang="en-US" dirty="0"/>
          </a:p>
        </p:txBody>
      </p:sp>
      <p:sp>
        <p:nvSpPr>
          <p:cNvPr id="6" name="Text Placeholder 5"/>
          <p:cNvSpPr>
            <a:spLocks noGrp="1"/>
          </p:cNvSpPr>
          <p:nvPr>
            <p:ph type="body" sz="quarter" idx="13"/>
          </p:nvPr>
        </p:nvSpPr>
        <p:spPr/>
        <p:txBody>
          <a:bodyPr/>
          <a:lstStyle/>
          <a:p>
            <a:endParaRPr lang="en-US" dirty="0"/>
          </a:p>
        </p:txBody>
      </p:sp>
      <p:sp>
        <p:nvSpPr>
          <p:cNvPr id="7" name="Rectangle 6"/>
          <p:cNvSpPr/>
          <p:nvPr/>
        </p:nvSpPr>
        <p:spPr>
          <a:xfrm>
            <a:off x="943897" y="1799846"/>
            <a:ext cx="1463391" cy="400110"/>
          </a:xfrm>
          <a:prstGeom prst="rect">
            <a:avLst/>
          </a:prstGeom>
        </p:spPr>
        <p:txBody>
          <a:bodyPr wrap="square">
            <a:spAutoFit/>
          </a:bodyPr>
          <a:lstStyle/>
          <a:p>
            <a:r>
              <a:rPr lang="en-US" sz="2000" dirty="0"/>
              <a:t>Objectives</a:t>
            </a:r>
          </a:p>
        </p:txBody>
      </p:sp>
      <p:sp>
        <p:nvSpPr>
          <p:cNvPr id="9" name="Rectangle 8"/>
          <p:cNvSpPr/>
          <p:nvPr/>
        </p:nvSpPr>
        <p:spPr>
          <a:xfrm>
            <a:off x="4941968" y="1832526"/>
            <a:ext cx="2585230" cy="400110"/>
          </a:xfrm>
          <a:prstGeom prst="rect">
            <a:avLst/>
          </a:prstGeom>
        </p:spPr>
        <p:txBody>
          <a:bodyPr wrap="square">
            <a:spAutoFit/>
          </a:bodyPr>
          <a:lstStyle/>
          <a:p>
            <a:r>
              <a:rPr lang="en-US" sz="2000" dirty="0"/>
              <a:t>Guiding Principles</a:t>
            </a:r>
          </a:p>
        </p:txBody>
      </p:sp>
      <p:sp>
        <p:nvSpPr>
          <p:cNvPr id="10" name="Rectangle 9"/>
          <p:cNvSpPr/>
          <p:nvPr/>
        </p:nvSpPr>
        <p:spPr>
          <a:xfrm>
            <a:off x="9555925" y="1799846"/>
            <a:ext cx="1306124" cy="400110"/>
          </a:xfrm>
          <a:prstGeom prst="rect">
            <a:avLst/>
          </a:prstGeom>
        </p:spPr>
        <p:txBody>
          <a:bodyPr wrap="square">
            <a:spAutoFit/>
          </a:bodyPr>
          <a:lstStyle/>
          <a:p>
            <a:r>
              <a:rPr lang="en-US" sz="2000" dirty="0"/>
              <a:t>Benefits</a:t>
            </a:r>
          </a:p>
        </p:txBody>
      </p:sp>
      <p:sp>
        <p:nvSpPr>
          <p:cNvPr id="12" name="Rectangle 11"/>
          <p:cNvSpPr/>
          <p:nvPr/>
        </p:nvSpPr>
        <p:spPr>
          <a:xfrm>
            <a:off x="318618" y="2248170"/>
            <a:ext cx="3869944" cy="3539430"/>
          </a:xfrm>
          <a:prstGeom prst="rect">
            <a:avLst/>
          </a:prstGeom>
        </p:spPr>
        <p:txBody>
          <a:bodyPr wrap="square">
            <a:spAutoFit/>
          </a:bodyPr>
          <a:lstStyle/>
          <a:p>
            <a:pPr marL="457200" indent="-457200">
              <a:buFont typeface="Arial" panose="020B0604020202020204" pitchFamily="34" charset="0"/>
              <a:buChar char="•"/>
            </a:pPr>
            <a:r>
              <a:rPr lang="en-US" sz="1600" dirty="0">
                <a:solidFill>
                  <a:schemeClr val="tx2"/>
                </a:solidFill>
              </a:rPr>
              <a:t>Transition </a:t>
            </a:r>
            <a:r>
              <a:rPr lang="en-US" sz="1600" dirty="0" smtClean="0">
                <a:solidFill>
                  <a:schemeClr val="tx2"/>
                </a:solidFill>
              </a:rPr>
              <a:t>from </a:t>
            </a:r>
            <a:r>
              <a:rPr lang="en-US" sz="1600" dirty="0" err="1" smtClean="0">
                <a:solidFill>
                  <a:schemeClr val="tx2"/>
                </a:solidFill>
              </a:rPr>
              <a:t>Coeus</a:t>
            </a:r>
            <a:r>
              <a:rPr lang="en-US" sz="1600" dirty="0" smtClean="0">
                <a:solidFill>
                  <a:schemeClr val="tx2"/>
                </a:solidFill>
              </a:rPr>
              <a:t> </a:t>
            </a:r>
            <a:r>
              <a:rPr lang="en-US" sz="1600" dirty="0">
                <a:solidFill>
                  <a:schemeClr val="tx2"/>
                </a:solidFill>
              </a:rPr>
              <a:t>platform to </a:t>
            </a:r>
            <a:r>
              <a:rPr lang="en-US" sz="1600" dirty="0" err="1">
                <a:solidFill>
                  <a:schemeClr val="tx2"/>
                </a:solidFill>
              </a:rPr>
              <a:t>Kuali</a:t>
            </a:r>
            <a:r>
              <a:rPr lang="en-US" sz="1600" dirty="0">
                <a:solidFill>
                  <a:schemeClr val="tx2"/>
                </a:solidFill>
              </a:rPr>
              <a:t> Research SaaS solution</a:t>
            </a:r>
          </a:p>
          <a:p>
            <a:pPr marL="457200" indent="-457200">
              <a:buFont typeface="Arial" panose="020B0604020202020204" pitchFamily="34" charset="0"/>
              <a:buChar char="•"/>
            </a:pPr>
            <a:r>
              <a:rPr lang="en-US" sz="1600" dirty="0">
                <a:solidFill>
                  <a:schemeClr val="tx2"/>
                </a:solidFill>
              </a:rPr>
              <a:t>Implement </a:t>
            </a:r>
            <a:r>
              <a:rPr lang="en-US" sz="1600" dirty="0" smtClean="0">
                <a:solidFill>
                  <a:schemeClr val="tx2"/>
                </a:solidFill>
              </a:rPr>
              <a:t>electronic </a:t>
            </a:r>
            <a:r>
              <a:rPr lang="en-US" sz="1600" dirty="0">
                <a:solidFill>
                  <a:schemeClr val="tx2"/>
                </a:solidFill>
              </a:rPr>
              <a:t>research administration modules</a:t>
            </a:r>
          </a:p>
          <a:p>
            <a:pPr marL="457200" indent="-457200">
              <a:buFont typeface="Arial" panose="020B0604020202020204" pitchFamily="34" charset="0"/>
              <a:buChar char="•"/>
            </a:pPr>
            <a:r>
              <a:rPr lang="en-US" sz="1600" dirty="0">
                <a:solidFill>
                  <a:schemeClr val="tx2"/>
                </a:solidFill>
              </a:rPr>
              <a:t>Review and improve current business processes using </a:t>
            </a:r>
            <a:r>
              <a:rPr lang="en-US" sz="1600" dirty="0" smtClean="0">
                <a:solidFill>
                  <a:schemeClr val="tx2"/>
                </a:solidFill>
              </a:rPr>
              <a:t>Lean </a:t>
            </a:r>
            <a:r>
              <a:rPr lang="en-US" sz="1600" dirty="0">
                <a:solidFill>
                  <a:schemeClr val="tx2"/>
                </a:solidFill>
              </a:rPr>
              <a:t>Six Sigma methodology </a:t>
            </a:r>
            <a:endParaRPr lang="en-US" sz="1600" dirty="0" smtClean="0">
              <a:solidFill>
                <a:schemeClr val="tx2"/>
              </a:solidFill>
            </a:endParaRPr>
          </a:p>
          <a:p>
            <a:pPr marL="457200" indent="-457200">
              <a:buFont typeface="Arial" panose="020B0604020202020204" pitchFamily="34" charset="0"/>
              <a:buChar char="•"/>
            </a:pPr>
            <a:r>
              <a:rPr lang="en-US" sz="1600" dirty="0" smtClean="0">
                <a:solidFill>
                  <a:schemeClr val="tx2"/>
                </a:solidFill>
              </a:rPr>
              <a:t>Train </a:t>
            </a:r>
            <a:r>
              <a:rPr lang="en-US" sz="1600" dirty="0">
                <a:solidFill>
                  <a:schemeClr val="tx2"/>
                </a:solidFill>
              </a:rPr>
              <a:t>impacted users on new business processes and </a:t>
            </a:r>
            <a:r>
              <a:rPr lang="en-US" sz="1600" dirty="0" smtClean="0">
                <a:solidFill>
                  <a:schemeClr val="tx2"/>
                </a:solidFill>
              </a:rPr>
              <a:t>system</a:t>
            </a:r>
            <a:endParaRPr lang="en-US" sz="1600" dirty="0">
              <a:solidFill>
                <a:schemeClr val="tx2"/>
              </a:solidFill>
            </a:endParaRPr>
          </a:p>
          <a:p>
            <a:pPr marL="457200" indent="-457200">
              <a:buFont typeface="Arial" panose="020B0604020202020204" pitchFamily="34" charset="0"/>
              <a:buChar char="•"/>
            </a:pPr>
            <a:r>
              <a:rPr lang="en-US" sz="1600" dirty="0">
                <a:solidFill>
                  <a:schemeClr val="tx2"/>
                </a:solidFill>
              </a:rPr>
              <a:t>Document and retire legacy business processes, systems and data as appropriate</a:t>
            </a:r>
          </a:p>
          <a:p>
            <a:pPr marL="457200" indent="-457200">
              <a:buFont typeface="Arial" panose="020B0604020202020204" pitchFamily="34" charset="0"/>
              <a:buChar char="•"/>
            </a:pPr>
            <a:r>
              <a:rPr lang="en-US" sz="1600" dirty="0">
                <a:solidFill>
                  <a:schemeClr val="tx2"/>
                </a:solidFill>
              </a:rPr>
              <a:t>Architect, document and implement data integration </a:t>
            </a:r>
            <a:r>
              <a:rPr lang="en-US" sz="1600" dirty="0" smtClean="0">
                <a:solidFill>
                  <a:schemeClr val="tx2"/>
                </a:solidFill>
              </a:rPr>
              <a:t>services</a:t>
            </a:r>
            <a:endParaRPr lang="en-US" sz="1600" dirty="0">
              <a:solidFill>
                <a:schemeClr val="tx2"/>
              </a:solidFill>
            </a:endParaRPr>
          </a:p>
        </p:txBody>
      </p:sp>
      <p:sp>
        <p:nvSpPr>
          <p:cNvPr id="13" name="Rectangle 12"/>
          <p:cNvSpPr/>
          <p:nvPr/>
        </p:nvSpPr>
        <p:spPr>
          <a:xfrm>
            <a:off x="4528390" y="2347773"/>
            <a:ext cx="3458398" cy="1323439"/>
          </a:xfrm>
          <a:prstGeom prst="rect">
            <a:avLst/>
          </a:prstGeom>
        </p:spPr>
        <p:txBody>
          <a:bodyPr wrap="square">
            <a:spAutoFit/>
          </a:bodyPr>
          <a:lstStyle/>
          <a:p>
            <a:pPr marL="457200" indent="-457200">
              <a:buFont typeface="Arial" panose="020B0604020202020204" pitchFamily="34" charset="0"/>
              <a:buChar char="•"/>
            </a:pPr>
            <a:r>
              <a:rPr lang="en-US" sz="1600" dirty="0">
                <a:solidFill>
                  <a:schemeClr val="tx2"/>
                </a:solidFill>
              </a:rPr>
              <a:t>Be open to </a:t>
            </a:r>
            <a:r>
              <a:rPr lang="en-US" sz="1600" dirty="0" smtClean="0">
                <a:solidFill>
                  <a:schemeClr val="tx2"/>
                </a:solidFill>
              </a:rPr>
              <a:t>change</a:t>
            </a:r>
          </a:p>
          <a:p>
            <a:pPr marL="457200" indent="-457200">
              <a:buFont typeface="Arial" panose="020B0604020202020204" pitchFamily="34" charset="0"/>
              <a:buChar char="•"/>
            </a:pPr>
            <a:r>
              <a:rPr lang="en-US" sz="1600" dirty="0" smtClean="0">
                <a:solidFill>
                  <a:schemeClr val="tx2"/>
                </a:solidFill>
              </a:rPr>
              <a:t>Continue </a:t>
            </a:r>
            <a:r>
              <a:rPr lang="en-US" sz="1600" dirty="0">
                <a:solidFill>
                  <a:schemeClr val="tx2"/>
                </a:solidFill>
              </a:rPr>
              <a:t>process </a:t>
            </a:r>
            <a:r>
              <a:rPr lang="en-US" sz="1600" dirty="0" smtClean="0">
                <a:solidFill>
                  <a:schemeClr val="tx2"/>
                </a:solidFill>
              </a:rPr>
              <a:t>improvement</a:t>
            </a:r>
          </a:p>
          <a:p>
            <a:pPr marL="457200" indent="-457200">
              <a:buFont typeface="Arial" panose="020B0604020202020204" pitchFamily="34" charset="0"/>
              <a:buChar char="•"/>
            </a:pPr>
            <a:r>
              <a:rPr lang="en-US" sz="1600" dirty="0" smtClean="0">
                <a:solidFill>
                  <a:schemeClr val="tx2"/>
                </a:solidFill>
              </a:rPr>
              <a:t>Support </a:t>
            </a:r>
            <a:r>
              <a:rPr lang="en-US" sz="1600" dirty="0">
                <a:solidFill>
                  <a:schemeClr val="tx2"/>
                </a:solidFill>
              </a:rPr>
              <a:t>a </a:t>
            </a:r>
            <a:r>
              <a:rPr lang="en-US" sz="1600" dirty="0" smtClean="0">
                <a:solidFill>
                  <a:schemeClr val="tx2"/>
                </a:solidFill>
              </a:rPr>
              <a:t>culture </a:t>
            </a:r>
            <a:r>
              <a:rPr lang="en-US" sz="1600" dirty="0">
                <a:solidFill>
                  <a:schemeClr val="tx2"/>
                </a:solidFill>
              </a:rPr>
              <a:t>of </a:t>
            </a:r>
            <a:r>
              <a:rPr lang="en-US" sz="1600" dirty="0" smtClean="0">
                <a:solidFill>
                  <a:schemeClr val="tx2"/>
                </a:solidFill>
              </a:rPr>
              <a:t>quality</a:t>
            </a:r>
          </a:p>
          <a:p>
            <a:pPr marL="457200" indent="-457200">
              <a:buFont typeface="Arial" panose="020B0604020202020204" pitchFamily="34" charset="0"/>
              <a:buChar char="•"/>
            </a:pPr>
            <a:r>
              <a:rPr lang="en-US" sz="1600" dirty="0" smtClean="0">
                <a:solidFill>
                  <a:schemeClr val="tx2"/>
                </a:solidFill>
              </a:rPr>
              <a:t>Encourage </a:t>
            </a:r>
            <a:r>
              <a:rPr lang="en-US" sz="1600" dirty="0">
                <a:solidFill>
                  <a:schemeClr val="tx2"/>
                </a:solidFill>
              </a:rPr>
              <a:t>feedback and </a:t>
            </a:r>
            <a:r>
              <a:rPr lang="en-US" sz="1600" dirty="0" smtClean="0">
                <a:solidFill>
                  <a:schemeClr val="tx2"/>
                </a:solidFill>
              </a:rPr>
              <a:t>critique</a:t>
            </a:r>
          </a:p>
          <a:p>
            <a:pPr marL="457200" indent="-457200">
              <a:buFont typeface="Arial" panose="020B0604020202020204" pitchFamily="34" charset="0"/>
              <a:buChar char="•"/>
            </a:pPr>
            <a:r>
              <a:rPr lang="en-US" sz="1600" dirty="0" smtClean="0">
                <a:solidFill>
                  <a:schemeClr val="tx2"/>
                </a:solidFill>
              </a:rPr>
              <a:t>Follow </a:t>
            </a:r>
            <a:r>
              <a:rPr lang="en-US" sz="1600" dirty="0">
                <a:solidFill>
                  <a:schemeClr val="tx2"/>
                </a:solidFill>
              </a:rPr>
              <a:t>industry best </a:t>
            </a:r>
            <a:r>
              <a:rPr lang="en-US" sz="1600" dirty="0" smtClean="0">
                <a:solidFill>
                  <a:schemeClr val="tx2"/>
                </a:solidFill>
              </a:rPr>
              <a:t>practices</a:t>
            </a:r>
            <a:endParaRPr lang="en-US" sz="1600" dirty="0">
              <a:solidFill>
                <a:schemeClr val="tx2"/>
              </a:solidFill>
            </a:endParaRPr>
          </a:p>
        </p:txBody>
      </p:sp>
      <p:sp>
        <p:nvSpPr>
          <p:cNvPr id="2" name="Rectangle 1"/>
          <p:cNvSpPr/>
          <p:nvPr/>
        </p:nvSpPr>
        <p:spPr>
          <a:xfrm>
            <a:off x="8760596" y="2201858"/>
            <a:ext cx="3109873" cy="4031873"/>
          </a:xfrm>
          <a:prstGeom prst="rect">
            <a:avLst/>
          </a:prstGeom>
        </p:spPr>
        <p:txBody>
          <a:bodyPr wrap="square">
            <a:spAutoFit/>
          </a:bodyPr>
          <a:lstStyle/>
          <a:p>
            <a:pPr marL="457200" indent="-457200">
              <a:buFont typeface="Arial" panose="020B0604020202020204" pitchFamily="34" charset="0"/>
              <a:buChar char="•"/>
            </a:pPr>
            <a:r>
              <a:rPr lang="en-US" sz="1600" dirty="0">
                <a:solidFill>
                  <a:schemeClr val="tx2"/>
                </a:solidFill>
              </a:rPr>
              <a:t>Cost savings </a:t>
            </a:r>
            <a:r>
              <a:rPr lang="en-US" sz="1600" dirty="0" smtClean="0">
                <a:solidFill>
                  <a:schemeClr val="tx2"/>
                </a:solidFill>
              </a:rPr>
              <a:t>by </a:t>
            </a:r>
            <a:r>
              <a:rPr lang="en-US" sz="1600" dirty="0">
                <a:solidFill>
                  <a:schemeClr val="tx2"/>
                </a:solidFill>
              </a:rPr>
              <a:t>optimizing business processes</a:t>
            </a:r>
          </a:p>
          <a:p>
            <a:pPr marL="457200" indent="-457200">
              <a:buFont typeface="Arial" panose="020B0604020202020204" pitchFamily="34" charset="0"/>
              <a:buChar char="•"/>
            </a:pPr>
            <a:r>
              <a:rPr lang="en-US" sz="1600" dirty="0">
                <a:solidFill>
                  <a:schemeClr val="tx2"/>
                </a:solidFill>
              </a:rPr>
              <a:t>Leverage web-based SaaS </a:t>
            </a:r>
            <a:r>
              <a:rPr lang="en-US" sz="1600" dirty="0" smtClean="0">
                <a:solidFill>
                  <a:schemeClr val="tx2"/>
                </a:solidFill>
              </a:rPr>
              <a:t>to improve user experience with </a:t>
            </a:r>
            <a:r>
              <a:rPr lang="en-US" sz="1600" dirty="0">
                <a:solidFill>
                  <a:schemeClr val="tx2"/>
                </a:solidFill>
              </a:rPr>
              <a:t>modern web </a:t>
            </a:r>
            <a:r>
              <a:rPr lang="en-US" sz="1600" dirty="0" smtClean="0">
                <a:solidFill>
                  <a:schemeClr val="tx2"/>
                </a:solidFill>
              </a:rPr>
              <a:t>and </a:t>
            </a:r>
            <a:r>
              <a:rPr lang="en-US" sz="1600" dirty="0">
                <a:solidFill>
                  <a:schemeClr val="tx2"/>
                </a:solidFill>
              </a:rPr>
              <a:t>user interfaces</a:t>
            </a:r>
          </a:p>
          <a:p>
            <a:pPr marL="457200" indent="-457200">
              <a:buFont typeface="Arial" panose="020B0604020202020204" pitchFamily="34" charset="0"/>
              <a:buChar char="•"/>
            </a:pPr>
            <a:r>
              <a:rPr lang="en-US" sz="1600" dirty="0" smtClean="0">
                <a:solidFill>
                  <a:schemeClr val="tx2"/>
                </a:solidFill>
              </a:rPr>
              <a:t>Improved </a:t>
            </a:r>
            <a:r>
              <a:rPr lang="en-US" sz="1600" dirty="0">
                <a:solidFill>
                  <a:schemeClr val="tx2"/>
                </a:solidFill>
              </a:rPr>
              <a:t>compliance</a:t>
            </a:r>
          </a:p>
          <a:p>
            <a:pPr marL="457200" indent="-457200">
              <a:buFont typeface="Arial" panose="020B0604020202020204" pitchFamily="34" charset="0"/>
              <a:buChar char="•"/>
            </a:pPr>
            <a:r>
              <a:rPr lang="en-US" sz="1600" dirty="0">
                <a:solidFill>
                  <a:schemeClr val="tx2"/>
                </a:solidFill>
              </a:rPr>
              <a:t>Availability of new functionalities that support essential research administration business processes, and ensures effective management of risk</a:t>
            </a:r>
          </a:p>
          <a:p>
            <a:pPr marL="457200" indent="-457200">
              <a:buFont typeface="Arial" panose="020B0604020202020204" pitchFamily="34" charset="0"/>
              <a:buChar char="•"/>
            </a:pPr>
            <a:r>
              <a:rPr lang="en-US" sz="1600" dirty="0">
                <a:solidFill>
                  <a:schemeClr val="tx2"/>
                </a:solidFill>
              </a:rPr>
              <a:t>Greater security</a:t>
            </a:r>
          </a:p>
          <a:p>
            <a:pPr marL="457200" indent="-457200">
              <a:buFont typeface="Arial" panose="020B0604020202020204" pitchFamily="34" charset="0"/>
              <a:buChar char="•"/>
            </a:pPr>
            <a:r>
              <a:rPr lang="en-US" sz="1600" dirty="0">
                <a:solidFill>
                  <a:schemeClr val="tx2"/>
                </a:solidFill>
              </a:rPr>
              <a:t>Modernization and sustainability</a:t>
            </a:r>
          </a:p>
        </p:txBody>
      </p:sp>
      <p:cxnSp>
        <p:nvCxnSpPr>
          <p:cNvPr id="14" name="Straight Connector 13"/>
          <p:cNvCxnSpPr/>
          <p:nvPr/>
        </p:nvCxnSpPr>
        <p:spPr>
          <a:xfrm flipH="1">
            <a:off x="4300430" y="2347773"/>
            <a:ext cx="9728" cy="31031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8531833" y="2232636"/>
            <a:ext cx="9728" cy="310312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37139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3.xml><?xml version="1.0" encoding="utf-8"?>
<a:theme xmlns:a="http://schemas.openxmlformats.org/drawingml/2006/main" name="2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4.xml><?xml version="1.0" encoding="utf-8"?>
<a:theme xmlns:a="http://schemas.openxmlformats.org/drawingml/2006/main" name="3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5.xml><?xml version="1.0" encoding="utf-8"?>
<a:theme xmlns:a="http://schemas.openxmlformats.org/drawingml/2006/main" name="Custom Design">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L TEMPLATE" id="{78CD295F-64B9-D447-AFE3-9DCE59637CD6}" vid="{551AD14F-9F29-A146-B811-EE934B7C4A03}"/>
    </a:ext>
  </a:extLst>
</a:theme>
</file>

<file path=ppt/theme/theme6.xml><?xml version="1.0" encoding="utf-8"?>
<a:theme xmlns:a="http://schemas.openxmlformats.org/drawingml/2006/main" name="ESR Theme">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R Theme" id="{75AEB2B2-71ED-4D41-BCE3-400E6FEEE5BC}" vid="{4D6E260F-031E-3D48-B148-479FDF7CB349}"/>
    </a:ext>
  </a:extLst>
</a:theme>
</file>

<file path=ppt/theme/theme7.xml><?xml version="1.0" encoding="utf-8"?>
<a:theme xmlns:a="http://schemas.openxmlformats.org/drawingml/2006/main" name="4_Section Slides">
  <a:themeElements>
    <a:clrScheme name="UC San Diego Health">
      <a:dk1>
        <a:srgbClr val="464749"/>
      </a:dk1>
      <a:lt1>
        <a:srgbClr val="FFFFFF"/>
      </a:lt1>
      <a:dk2>
        <a:srgbClr val="101D3A"/>
      </a:dk2>
      <a:lt2>
        <a:srgbClr val="FFFFFF"/>
      </a:lt2>
      <a:accent1>
        <a:srgbClr val="0C68AC"/>
      </a:accent1>
      <a:accent2>
        <a:srgbClr val="15A599"/>
      </a:accent2>
      <a:accent3>
        <a:srgbClr val="0C636E"/>
      </a:accent3>
      <a:accent4>
        <a:srgbClr val="443D82"/>
      </a:accent4>
      <a:accent5>
        <a:srgbClr val="671943"/>
      </a:accent5>
      <a:accent6>
        <a:srgbClr val="A7B306"/>
      </a:accent6>
      <a:hlink>
        <a:srgbClr val="AA0023"/>
      </a:hlink>
      <a:folHlink>
        <a:srgbClr val="0C68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CSDHealth-16x9" id="{6D9D32FB-35C8-1345-8EFA-FDD3A2A06C29}" vid="{C3C87989-F9C7-F540-B8B8-EF7C3FAE362D}"/>
    </a:ext>
  </a:extLst>
</a:theme>
</file>

<file path=ppt/theme/theme8.xml><?xml version="1.0" encoding="utf-8"?>
<a:theme xmlns:a="http://schemas.openxmlformats.org/drawingml/2006/main" name="1_ESR Theme">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R Theme" id="{75AEB2B2-71ED-4D41-BCE3-400E6FEEE5BC}" vid="{4D6E260F-031E-3D48-B148-479FDF7CB34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24</TotalTime>
  <Words>3467</Words>
  <Application>Microsoft Office PowerPoint</Application>
  <PresentationFormat>Widescreen</PresentationFormat>
  <Paragraphs>887</Paragraphs>
  <Slides>48</Slides>
  <Notes>17</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63" baseType="lpstr">
      <vt:lpstr>Arial</vt:lpstr>
      <vt:lpstr>Arial Narrow</vt:lpstr>
      <vt:lpstr>calibri</vt:lpstr>
      <vt:lpstr>calibri</vt:lpstr>
      <vt:lpstr>Calibri Light</vt:lpstr>
      <vt:lpstr>Times New Roman</vt:lpstr>
      <vt:lpstr>Office Theme</vt:lpstr>
      <vt:lpstr>1_Section Slides</vt:lpstr>
      <vt:lpstr>2_Section Slides</vt:lpstr>
      <vt:lpstr>3_Section Slides</vt:lpstr>
      <vt:lpstr>Custom Design</vt:lpstr>
      <vt:lpstr>ESR Theme</vt:lpstr>
      <vt:lpstr>4_Section Slides</vt:lpstr>
      <vt:lpstr>1_ESR Theme</vt:lpstr>
      <vt:lpstr>think-cell Slide</vt:lpstr>
      <vt:lpstr>About Kuali Research</vt:lpstr>
      <vt:lpstr>Kuali Research  Sponsored Programs Modules</vt:lpstr>
      <vt:lpstr>Kuali Research (KR) Project Scope</vt:lpstr>
      <vt:lpstr>Kuali Initiatives at UC San Diego</vt:lpstr>
      <vt:lpstr>Kuali Initiatives at UC San Diego</vt:lpstr>
      <vt:lpstr>Kuali Research Project Update</vt:lpstr>
      <vt:lpstr>Initiate</vt:lpstr>
      <vt:lpstr>Kuali Research Project</vt:lpstr>
      <vt:lpstr>Kuali Research Project</vt:lpstr>
      <vt:lpstr>Kuali Research Project Scope</vt:lpstr>
      <vt:lpstr>Plan</vt:lpstr>
      <vt:lpstr>PowerPoint Presentation</vt:lpstr>
      <vt:lpstr>Change Structure</vt:lpstr>
      <vt:lpstr>Design</vt:lpstr>
      <vt:lpstr>Project Timeline</vt:lpstr>
      <vt:lpstr>Design </vt:lpstr>
      <vt:lpstr>Business Process Review</vt:lpstr>
      <vt:lpstr>Understanding Business Process Review Levels</vt:lpstr>
      <vt:lpstr>Research Administration – Process Landscape</vt:lpstr>
      <vt:lpstr>Research Administration – Process Landscape </vt:lpstr>
      <vt:lpstr>Research Administration – Process Landscape </vt:lpstr>
      <vt:lpstr>Business Process Messaging</vt:lpstr>
      <vt:lpstr>Configure &amp; Prototype</vt:lpstr>
      <vt:lpstr>Configuration &amp; Prototype</vt:lpstr>
      <vt:lpstr>Validate</vt:lpstr>
      <vt:lpstr>Validate</vt:lpstr>
      <vt:lpstr>Validate</vt:lpstr>
      <vt:lpstr>Preparing for Change</vt:lpstr>
      <vt:lpstr>Preparing for Change</vt:lpstr>
      <vt:lpstr>Transition</vt:lpstr>
      <vt:lpstr>Transition </vt:lpstr>
      <vt:lpstr>Training Landscape </vt:lpstr>
      <vt:lpstr>PowerPoint Presentation</vt:lpstr>
      <vt:lpstr>Training Requirements</vt:lpstr>
      <vt:lpstr>Training Roadmap Draft</vt:lpstr>
      <vt:lpstr>Transition Strategy</vt:lpstr>
      <vt:lpstr>Go Live</vt:lpstr>
      <vt:lpstr>Go Live</vt:lpstr>
      <vt:lpstr>Realization</vt:lpstr>
      <vt:lpstr>Realization</vt:lpstr>
      <vt:lpstr>Stabilization</vt:lpstr>
      <vt:lpstr>Stabilization</vt:lpstr>
      <vt:lpstr>Kuali Research </vt:lpstr>
      <vt:lpstr>Kuali Initiatives at UC San Diego</vt:lpstr>
      <vt:lpstr>Kuali IRB </vt:lpstr>
      <vt:lpstr>Kuali Initiatives at UC San Diego</vt:lpstr>
      <vt:lpstr>Kuali COI </vt:lpstr>
      <vt:lpstr>PowerPoint Presentation</vt:lpstr>
    </vt:vector>
  </TitlesOfParts>
  <Company>University of California, San Die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yce, Nicole</dc:creator>
  <cp:lastModifiedBy>Mejia, Francisco</cp:lastModifiedBy>
  <cp:revision>176</cp:revision>
  <dcterms:created xsi:type="dcterms:W3CDTF">2018-06-19T19:15:33Z</dcterms:created>
  <dcterms:modified xsi:type="dcterms:W3CDTF">2019-05-29T21:08:46Z</dcterms:modified>
</cp:coreProperties>
</file>